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63"/>
  </p:notesMasterIdLst>
  <p:handoutMasterIdLst>
    <p:handoutMasterId r:id="rId64"/>
  </p:handoutMasterIdLst>
  <p:sldIdLst>
    <p:sldId id="285" r:id="rId2"/>
    <p:sldId id="286" r:id="rId3"/>
    <p:sldId id="364" r:id="rId4"/>
    <p:sldId id="371" r:id="rId5"/>
    <p:sldId id="372" r:id="rId6"/>
    <p:sldId id="287" r:id="rId7"/>
    <p:sldId id="288" r:id="rId8"/>
    <p:sldId id="289" r:id="rId9"/>
    <p:sldId id="290" r:id="rId10"/>
    <p:sldId id="291" r:id="rId11"/>
    <p:sldId id="292" r:id="rId12"/>
    <p:sldId id="293" r:id="rId13"/>
    <p:sldId id="294" r:id="rId14"/>
    <p:sldId id="295" r:id="rId15"/>
    <p:sldId id="296" r:id="rId16"/>
    <p:sldId id="298" r:id="rId17"/>
    <p:sldId id="299" r:id="rId18"/>
    <p:sldId id="302" r:id="rId19"/>
    <p:sldId id="377" r:id="rId20"/>
    <p:sldId id="366" r:id="rId21"/>
    <p:sldId id="367" r:id="rId22"/>
    <p:sldId id="368" r:id="rId23"/>
    <p:sldId id="369" r:id="rId24"/>
    <p:sldId id="325" r:id="rId25"/>
    <p:sldId id="304" r:id="rId26"/>
    <p:sldId id="279" r:id="rId27"/>
    <p:sldId id="280" r:id="rId28"/>
    <p:sldId id="281" r:id="rId29"/>
    <p:sldId id="282" r:id="rId30"/>
    <p:sldId id="283" r:id="rId31"/>
    <p:sldId id="365" r:id="rId32"/>
    <p:sldId id="326" r:id="rId33"/>
    <p:sldId id="374" r:id="rId34"/>
    <p:sldId id="375" r:id="rId35"/>
    <p:sldId id="376" r:id="rId36"/>
    <p:sldId id="327" r:id="rId37"/>
    <p:sldId id="313" r:id="rId38"/>
    <p:sldId id="303" r:id="rId39"/>
    <p:sldId id="314" r:id="rId40"/>
    <p:sldId id="319" r:id="rId41"/>
    <p:sldId id="306" r:id="rId42"/>
    <p:sldId id="317" r:id="rId43"/>
    <p:sldId id="373" r:id="rId44"/>
    <p:sldId id="361" r:id="rId45"/>
    <p:sldId id="339" r:id="rId46"/>
    <p:sldId id="359" r:id="rId47"/>
    <p:sldId id="360" r:id="rId48"/>
    <p:sldId id="351" r:id="rId49"/>
    <p:sldId id="343" r:id="rId50"/>
    <p:sldId id="344" r:id="rId51"/>
    <p:sldId id="370" r:id="rId52"/>
    <p:sldId id="357" r:id="rId53"/>
    <p:sldId id="346" r:id="rId54"/>
    <p:sldId id="348" r:id="rId55"/>
    <p:sldId id="349" r:id="rId56"/>
    <p:sldId id="352" r:id="rId57"/>
    <p:sldId id="354" r:id="rId58"/>
    <p:sldId id="356" r:id="rId59"/>
    <p:sldId id="355" r:id="rId60"/>
    <p:sldId id="347" r:id="rId61"/>
    <p:sldId id="338" r:id="rId62"/>
  </p:sldIdLst>
  <p:sldSz cx="12226925" cy="6858000"/>
  <p:notesSz cx="6815138" cy="9947275"/>
  <p:defaultTextStyle>
    <a:defPPr>
      <a:defRPr lang="en-US"/>
    </a:defPPr>
    <a:lvl1pPr algn="l" rtl="0" eaLnBrk="0" fontAlgn="base" hangingPunct="0">
      <a:spcBef>
        <a:spcPct val="0"/>
      </a:spcBef>
      <a:spcAft>
        <a:spcPct val="0"/>
      </a:spcAft>
      <a:defRPr sz="2400" kern="1200">
        <a:solidFill>
          <a:schemeClr val="tx1"/>
        </a:solidFill>
        <a:latin typeface="Times"/>
        <a:ea typeface="+mn-ea"/>
        <a:cs typeface="+mn-cs"/>
      </a:defRPr>
    </a:lvl1pPr>
    <a:lvl2pPr marL="457200" algn="l" rtl="0" eaLnBrk="0" fontAlgn="base" hangingPunct="0">
      <a:spcBef>
        <a:spcPct val="0"/>
      </a:spcBef>
      <a:spcAft>
        <a:spcPct val="0"/>
      </a:spcAft>
      <a:defRPr sz="2400" kern="1200">
        <a:solidFill>
          <a:schemeClr val="tx1"/>
        </a:solidFill>
        <a:latin typeface="Times"/>
        <a:ea typeface="+mn-ea"/>
        <a:cs typeface="+mn-cs"/>
      </a:defRPr>
    </a:lvl2pPr>
    <a:lvl3pPr marL="914400" algn="l" rtl="0" eaLnBrk="0" fontAlgn="base" hangingPunct="0">
      <a:spcBef>
        <a:spcPct val="0"/>
      </a:spcBef>
      <a:spcAft>
        <a:spcPct val="0"/>
      </a:spcAft>
      <a:defRPr sz="2400" kern="1200">
        <a:solidFill>
          <a:schemeClr val="tx1"/>
        </a:solidFill>
        <a:latin typeface="Times"/>
        <a:ea typeface="+mn-ea"/>
        <a:cs typeface="+mn-cs"/>
      </a:defRPr>
    </a:lvl3pPr>
    <a:lvl4pPr marL="1371600" algn="l" rtl="0" eaLnBrk="0" fontAlgn="base" hangingPunct="0">
      <a:spcBef>
        <a:spcPct val="0"/>
      </a:spcBef>
      <a:spcAft>
        <a:spcPct val="0"/>
      </a:spcAft>
      <a:defRPr sz="2400" kern="1200">
        <a:solidFill>
          <a:schemeClr val="tx1"/>
        </a:solidFill>
        <a:latin typeface="Times"/>
        <a:ea typeface="+mn-ea"/>
        <a:cs typeface="+mn-cs"/>
      </a:defRPr>
    </a:lvl4pPr>
    <a:lvl5pPr marL="1828800" algn="l" rtl="0" eaLnBrk="0" fontAlgn="base" hangingPunct="0">
      <a:spcBef>
        <a:spcPct val="0"/>
      </a:spcBef>
      <a:spcAft>
        <a:spcPct val="0"/>
      </a:spcAft>
      <a:defRPr sz="2400" kern="1200">
        <a:solidFill>
          <a:schemeClr val="tx1"/>
        </a:solidFill>
        <a:latin typeface="Times"/>
        <a:ea typeface="+mn-ea"/>
        <a:cs typeface="+mn-cs"/>
      </a:defRPr>
    </a:lvl5pPr>
    <a:lvl6pPr marL="2286000" algn="l" defTabSz="914400" rtl="0" eaLnBrk="1" latinLnBrk="0" hangingPunct="1">
      <a:defRPr sz="2400" kern="1200">
        <a:solidFill>
          <a:schemeClr val="tx1"/>
        </a:solidFill>
        <a:latin typeface="Times"/>
        <a:ea typeface="+mn-ea"/>
        <a:cs typeface="+mn-cs"/>
      </a:defRPr>
    </a:lvl6pPr>
    <a:lvl7pPr marL="2743200" algn="l" defTabSz="914400" rtl="0" eaLnBrk="1" latinLnBrk="0" hangingPunct="1">
      <a:defRPr sz="2400" kern="1200">
        <a:solidFill>
          <a:schemeClr val="tx1"/>
        </a:solidFill>
        <a:latin typeface="Times"/>
        <a:ea typeface="+mn-ea"/>
        <a:cs typeface="+mn-cs"/>
      </a:defRPr>
    </a:lvl7pPr>
    <a:lvl8pPr marL="3200400" algn="l" defTabSz="914400" rtl="0" eaLnBrk="1" latinLnBrk="0" hangingPunct="1">
      <a:defRPr sz="2400" kern="1200">
        <a:solidFill>
          <a:schemeClr val="tx1"/>
        </a:solidFill>
        <a:latin typeface="Times"/>
        <a:ea typeface="+mn-ea"/>
        <a:cs typeface="+mn-cs"/>
      </a:defRPr>
    </a:lvl8pPr>
    <a:lvl9pPr marL="3657600" algn="l" defTabSz="914400" rtl="0" eaLnBrk="1" latinLnBrk="0" hangingPunct="1">
      <a:defRPr sz="2400" kern="1200">
        <a:solidFill>
          <a:schemeClr val="tx1"/>
        </a:solidFill>
        <a:latin typeface="Times"/>
        <a:ea typeface="+mn-ea"/>
        <a:cs typeface="+mn-cs"/>
      </a:defRPr>
    </a:lvl9pPr>
  </p:defaultTextStyle>
  <p:extLst>
    <p:ext uri="{EFAFB233-063F-42B5-8137-9DF3F51BA10A}">
      <p15:sldGuideLst xmlns="" xmlns:p15="http://schemas.microsoft.com/office/powerpoint/2012/main">
        <p15:guide id="1" orient="horz" pos="709">
          <p15:clr>
            <a:srgbClr val="A4A3A4"/>
          </p15:clr>
        </p15:guide>
        <p15:guide id="2" pos="476">
          <p15:clr>
            <a:srgbClr val="A4A3A4"/>
          </p15:clr>
        </p15:guide>
      </p15:sldGuideLst>
    </p:ext>
    <p:ext uri="{2D200454-40CA-4A62-9FC3-DE9A4176ACB9}">
      <p15:notesGuideLst xmlns="" xmlns:p15="http://schemas.microsoft.com/office/powerpoint/2012/main">
        <p15:guide id="1" orient="horz" pos="3087"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2381"/>
    <a:srgbClr val="D386F6"/>
    <a:srgbClr val="FFFFFF"/>
    <a:srgbClr val="9910D6"/>
    <a:srgbClr val="9933FF"/>
    <a:srgbClr val="9999FF"/>
    <a:srgbClr val="FF0000"/>
    <a:srgbClr val="008000"/>
    <a:srgbClr val="FF9933"/>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2787" autoAdjust="0"/>
    <p:restoredTop sz="90877" autoAdjust="0"/>
  </p:normalViewPr>
  <p:slideViewPr>
    <p:cSldViewPr>
      <p:cViewPr>
        <p:scale>
          <a:sx n="104" d="100"/>
          <a:sy n="104" d="100"/>
        </p:scale>
        <p:origin x="-576" y="-60"/>
      </p:cViewPr>
      <p:guideLst>
        <p:guide orient="horz" pos="709"/>
        <p:guide pos="6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9" d="100"/>
          <a:sy n="79" d="100"/>
        </p:scale>
        <p:origin x="-3966" y="-84"/>
      </p:cViewPr>
      <p:guideLst>
        <p:guide orient="horz" pos="3134"/>
        <p:guide pos="214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6A115F-8061-49AF-B19D-0F1D5C2ACCB5}"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de-DE"/>
        </a:p>
      </dgm:t>
    </dgm:pt>
    <dgm:pt modelId="{D030D83C-D091-44A9-8DEE-920CB5B53B61}">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2000" b="1" dirty="0" smtClean="0">
              <a:solidFill>
                <a:srgbClr val="572381"/>
              </a:solidFill>
              <a:latin typeface="Calibri" panose="020F0502020204030204" pitchFamily="34" charset="0"/>
              <a:ea typeface="+mn-ea"/>
              <a:cs typeface="Calibri" panose="020F0502020204030204" pitchFamily="34" charset="0"/>
            </a:rPr>
            <a:t>steuerbar</a:t>
          </a:r>
          <a:r>
            <a:rPr lang="de-DE" sz="1400" b="0" dirty="0" smtClean="0">
              <a:solidFill>
                <a:srgbClr val="572381"/>
              </a:solidFill>
              <a:latin typeface="Calibri" panose="020F0502020204030204" pitchFamily="34" charset="0"/>
              <a:ea typeface="+mn-ea"/>
              <a:cs typeface="Calibri" panose="020F0502020204030204" pitchFamily="34" charset="0"/>
            </a:rPr>
            <a:t> </a:t>
          </a:r>
          <a:endParaRPr lang="de-DE" sz="1400" b="0" dirty="0">
            <a:solidFill>
              <a:srgbClr val="572381"/>
            </a:solidFill>
            <a:latin typeface="Calibri" panose="020F0502020204030204" pitchFamily="34" charset="0"/>
            <a:ea typeface="+mn-ea"/>
            <a:cs typeface="Calibri" panose="020F0502020204030204" pitchFamily="34" charset="0"/>
          </a:endParaRPr>
        </a:p>
      </dgm:t>
    </dgm:pt>
    <dgm:pt modelId="{8CF2D23A-0C88-4FC4-BC61-649277F921BD}" type="parTrans" cxnId="{164DD9E6-2114-4BE3-B699-19FF3B655B12}">
      <dgm:prSet/>
      <dgm:spPr/>
      <dgm:t>
        <a:bodyPr/>
        <a:lstStyle/>
        <a:p>
          <a:endParaRPr lang="de-DE"/>
        </a:p>
      </dgm:t>
    </dgm:pt>
    <dgm:pt modelId="{311CBC06-E2FD-4379-8627-C267BEF5E009}" type="sibTrans" cxnId="{164DD9E6-2114-4BE3-B699-19FF3B655B12}">
      <dgm:prSet/>
      <dgm:spPr/>
      <dgm:t>
        <a:bodyPr/>
        <a:lstStyle/>
        <a:p>
          <a:endParaRPr lang="de-DE"/>
        </a:p>
      </dgm:t>
    </dgm:pt>
    <dgm:pt modelId="{AC6918BC-7E96-4D63-8D74-3284757062BE}" type="asst">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steuerpflichtig</a:t>
          </a:r>
        </a:p>
      </dgm:t>
    </dgm:pt>
    <dgm:pt modelId="{DC97FE2B-A5F4-4188-B808-96898EA41E85}" type="parTrans" cxnId="{0593DDB2-9E9F-4F68-A741-1E38B87F7746}">
      <dgm:prSet/>
      <dgm:spPr>
        <a:solidFill>
          <a:srgbClr val="572381"/>
        </a:solidFill>
        <a:ln>
          <a:solidFill>
            <a:srgbClr val="572381"/>
          </a:solidFill>
        </a:ln>
      </dgm:spPr>
      <dgm:t>
        <a:bodyPr/>
        <a:lstStyle/>
        <a:p>
          <a:endParaRPr lang="de-DE"/>
        </a:p>
      </dgm:t>
    </dgm:pt>
    <dgm:pt modelId="{720DD1A7-2EF0-43D7-B3AC-F518D00D75C7}" type="sibTrans" cxnId="{0593DDB2-9E9F-4F68-A741-1E38B87F7746}">
      <dgm:prSet/>
      <dgm:spPr/>
      <dgm:t>
        <a:bodyPr/>
        <a:lstStyle/>
        <a:p>
          <a:endParaRPr lang="de-DE"/>
        </a:p>
      </dgm:t>
    </dgm:pt>
    <dgm:pt modelId="{AEAFE1FE-7F3C-47F5-929B-EE7D8E3E1843}" type="asst">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steuerfrei…</a:t>
          </a:r>
        </a:p>
      </dgm:t>
    </dgm:pt>
    <dgm:pt modelId="{14887B2E-7C70-4E28-B155-598C60B21B54}" type="parTrans" cxnId="{ED9EF97D-D3C6-4A51-88AF-CF30BB884663}">
      <dgm:prSet/>
      <dgm:spPr>
        <a:solidFill>
          <a:srgbClr val="572381"/>
        </a:solidFill>
        <a:ln>
          <a:solidFill>
            <a:srgbClr val="572381"/>
          </a:solidFill>
        </a:ln>
      </dgm:spPr>
      <dgm:t>
        <a:bodyPr/>
        <a:lstStyle/>
        <a:p>
          <a:endParaRPr lang="de-DE"/>
        </a:p>
      </dgm:t>
    </dgm:pt>
    <dgm:pt modelId="{2422BE0B-58E6-4506-8213-F39E72C5392C}" type="sibTrans" cxnId="{ED9EF97D-D3C6-4A51-88AF-CF30BB884663}">
      <dgm:prSet/>
      <dgm:spPr/>
      <dgm:t>
        <a:bodyPr/>
        <a:lstStyle/>
        <a:p>
          <a:endParaRPr lang="de-DE"/>
        </a:p>
      </dgm:t>
    </dgm:pt>
    <dgm:pt modelId="{AB5E58F6-20BC-4A48-9E10-44F4CF48CA46}">
      <dgm:prSe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Vorsteuerabzug</a:t>
          </a:r>
          <a:endParaRPr lang="de-DE" sz="1400" b="0" dirty="0">
            <a:solidFill>
              <a:srgbClr val="572381"/>
            </a:solidFill>
            <a:latin typeface="Calibri" panose="020F0502020204030204" pitchFamily="34" charset="0"/>
            <a:ea typeface="+mn-ea"/>
            <a:cs typeface="Calibri" panose="020F0502020204030204" pitchFamily="34" charset="0"/>
          </a:endParaRPr>
        </a:p>
      </dgm:t>
    </dgm:pt>
    <dgm:pt modelId="{E86EA5B8-390A-4FCE-9A71-CD2D7C6CD990}" type="parTrans" cxnId="{20CAF9B6-3272-4E6C-9326-1E26794CD444}">
      <dgm:prSet/>
      <dgm:spPr>
        <a:solidFill>
          <a:srgbClr val="572381"/>
        </a:solidFill>
        <a:ln>
          <a:solidFill>
            <a:srgbClr val="572381"/>
          </a:solidFill>
        </a:ln>
      </dgm:spPr>
      <dgm:t>
        <a:bodyPr/>
        <a:lstStyle/>
        <a:p>
          <a:endParaRPr lang="de-DE"/>
        </a:p>
      </dgm:t>
    </dgm:pt>
    <dgm:pt modelId="{E4A6A79E-2337-45CB-A458-4A3A7C392129}" type="sibTrans" cxnId="{20CAF9B6-3272-4E6C-9326-1E26794CD444}">
      <dgm:prSet/>
      <dgm:spPr/>
      <dgm:t>
        <a:bodyPr/>
        <a:lstStyle/>
        <a:p>
          <a:endParaRPr lang="de-DE"/>
        </a:p>
      </dgm:t>
    </dgm:pt>
    <dgm:pt modelId="{7683D168-FF54-4B89-BFFC-18C5D00794DA}" type="asst">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Ohne Vorsteuerabzug </a:t>
          </a:r>
        </a:p>
        <a:p>
          <a:r>
            <a:rPr lang="de-DE" sz="1400" b="0" dirty="0" smtClean="0">
              <a:solidFill>
                <a:srgbClr val="572381"/>
              </a:solidFill>
              <a:latin typeface="Calibri" panose="020F0502020204030204" pitchFamily="34" charset="0"/>
              <a:ea typeface="+mn-ea"/>
              <a:cs typeface="Calibri" panose="020F0502020204030204" pitchFamily="34" charset="0"/>
            </a:rPr>
            <a:t>§4 Nr. 8 – Nr. 28 UStG</a:t>
          </a:r>
        </a:p>
      </dgm:t>
    </dgm:pt>
    <dgm:pt modelId="{20453457-CF9F-429D-AABC-693D56A38BBC}" type="parTrans" cxnId="{4F2A5239-6D0A-4D97-9C34-79A7AF46F648}">
      <dgm:prSet/>
      <dgm:spPr>
        <a:ln>
          <a:solidFill>
            <a:srgbClr val="572381"/>
          </a:solidFill>
        </a:ln>
      </dgm:spPr>
      <dgm:t>
        <a:bodyPr/>
        <a:lstStyle/>
        <a:p>
          <a:endParaRPr lang="de-DE">
            <a:solidFill>
              <a:srgbClr val="572381"/>
            </a:solidFill>
          </a:endParaRPr>
        </a:p>
      </dgm:t>
    </dgm:pt>
    <dgm:pt modelId="{0669D478-A9AF-47A4-B4D9-B58FB7179BCD}" type="sibTrans" cxnId="{4F2A5239-6D0A-4D97-9C34-79A7AF46F648}">
      <dgm:prSet/>
      <dgm:spPr/>
      <dgm:t>
        <a:bodyPr/>
        <a:lstStyle/>
        <a:p>
          <a:endParaRPr lang="de-DE"/>
        </a:p>
      </dgm:t>
    </dgm:pt>
    <dgm:pt modelId="{B0620191-8BAA-41DD-9874-AB4FC06C2A5F}" type="asst">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Mit Vorsteuerabzug </a:t>
          </a:r>
        </a:p>
        <a:p>
          <a:r>
            <a:rPr lang="de-DE" sz="1400" b="0" dirty="0" smtClean="0">
              <a:solidFill>
                <a:srgbClr val="572381"/>
              </a:solidFill>
              <a:latin typeface="Calibri" panose="020F0502020204030204" pitchFamily="34" charset="0"/>
              <a:ea typeface="+mn-ea"/>
              <a:cs typeface="Calibri" panose="020F0502020204030204" pitchFamily="34" charset="0"/>
            </a:rPr>
            <a:t>§4 Nr. 1 – Nr. 7 UStG</a:t>
          </a:r>
        </a:p>
      </dgm:t>
    </dgm:pt>
    <dgm:pt modelId="{60041D0B-7D0E-4F18-AE6E-D29880276806}" type="parTrans" cxnId="{A0AC6505-43B3-4E21-8162-C5045371F173}">
      <dgm:prSet/>
      <dgm:spPr>
        <a:ln>
          <a:solidFill>
            <a:srgbClr val="572381"/>
          </a:solidFill>
        </a:ln>
      </dgm:spPr>
      <dgm:t>
        <a:bodyPr/>
        <a:lstStyle/>
        <a:p>
          <a:endParaRPr lang="de-DE"/>
        </a:p>
      </dgm:t>
    </dgm:pt>
    <dgm:pt modelId="{65B0A5D9-630C-4B40-86F3-4F5936D19643}" type="sibTrans" cxnId="{A0AC6505-43B3-4E21-8162-C5045371F173}">
      <dgm:prSet/>
      <dgm:spPr/>
      <dgm:t>
        <a:bodyPr/>
        <a:lstStyle/>
        <a:p>
          <a:endParaRPr lang="de-DE"/>
        </a:p>
      </dgm:t>
    </dgm:pt>
    <dgm:pt modelId="{5EBA7523-15CD-4D65-AC9D-215D7329CF75}">
      <dgm:prSe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ggf. Aufteilung der Vorsteuer</a:t>
          </a:r>
          <a:endParaRPr lang="de-DE" sz="1400" b="0" dirty="0">
            <a:solidFill>
              <a:srgbClr val="572381"/>
            </a:solidFill>
            <a:latin typeface="Calibri" panose="020F0502020204030204" pitchFamily="34" charset="0"/>
            <a:ea typeface="+mn-ea"/>
            <a:cs typeface="Calibri" panose="020F0502020204030204" pitchFamily="34" charset="0"/>
          </a:endParaRPr>
        </a:p>
      </dgm:t>
    </dgm:pt>
    <dgm:pt modelId="{7C2BB5BA-B02F-47FC-8769-5550E75FC34F}" type="parTrans" cxnId="{E9FC481E-CE01-4FBE-B2C4-438F0FFD33C3}">
      <dgm:prSet/>
      <dgm:spPr>
        <a:ln>
          <a:solidFill>
            <a:srgbClr val="572381"/>
          </a:solidFill>
        </a:ln>
      </dgm:spPr>
      <dgm:t>
        <a:bodyPr/>
        <a:lstStyle/>
        <a:p>
          <a:endParaRPr lang="de-DE"/>
        </a:p>
      </dgm:t>
    </dgm:pt>
    <dgm:pt modelId="{59B84D5A-2934-4D16-A8A3-C9CD19B7B3AE}" type="sibTrans" cxnId="{E9FC481E-CE01-4FBE-B2C4-438F0FFD33C3}">
      <dgm:prSet/>
      <dgm:spPr/>
      <dgm:t>
        <a:bodyPr/>
        <a:lstStyle/>
        <a:p>
          <a:endParaRPr lang="de-DE"/>
        </a:p>
      </dgm:t>
    </dgm:pt>
    <dgm:pt modelId="{E75FB164-2945-4B0C-938B-2D7BA2C9AA2A}" type="asst">
      <dgm:prSet phldrT="[Text]" custT="1"/>
      <dgm:spPr>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de-DE" sz="1400" b="0" dirty="0" smtClean="0">
            <a:solidFill>
              <a:srgbClr val="572381"/>
            </a:solidFill>
            <a:latin typeface="Calibri" panose="020F0502020204030204" pitchFamily="34" charset="0"/>
            <a:ea typeface="+mn-ea"/>
            <a:cs typeface="Calibri" panose="020F0502020204030204" pitchFamily="34" charset="0"/>
          </a:endParaRPr>
        </a:p>
      </dgm:t>
    </dgm:pt>
    <dgm:pt modelId="{D7E7D0BC-1B8A-4D8F-A3E2-626D490EAA40}" type="parTrans" cxnId="{95004DAF-9056-4066-B84B-C583C3473F79}">
      <dgm:prSet/>
      <dgm:spPr>
        <a:ln>
          <a:solidFill>
            <a:srgbClr val="572381"/>
          </a:solidFill>
        </a:ln>
      </dgm:spPr>
      <dgm:t>
        <a:bodyPr/>
        <a:lstStyle/>
        <a:p>
          <a:endParaRPr lang="de-DE"/>
        </a:p>
      </dgm:t>
    </dgm:pt>
    <dgm:pt modelId="{56D67354-B456-4022-B8AE-0E977B240EF5}" type="sibTrans" cxnId="{95004DAF-9056-4066-B84B-C583C3473F79}">
      <dgm:prSet/>
      <dgm:spPr/>
      <dgm:t>
        <a:bodyPr/>
        <a:lstStyle/>
        <a:p>
          <a:endParaRPr lang="de-DE"/>
        </a:p>
      </dgm:t>
    </dgm:pt>
    <dgm:pt modelId="{405A5AC3-6993-4325-A6B1-3E3C9EAC5CC3}" type="pres">
      <dgm:prSet presAssocID="{0E6A115F-8061-49AF-B19D-0F1D5C2ACCB5}" presName="mainComposite" presStyleCnt="0">
        <dgm:presLayoutVars>
          <dgm:chPref val="1"/>
          <dgm:dir/>
          <dgm:animOne val="branch"/>
          <dgm:animLvl val="lvl"/>
          <dgm:resizeHandles val="exact"/>
        </dgm:presLayoutVars>
      </dgm:prSet>
      <dgm:spPr/>
      <dgm:t>
        <a:bodyPr/>
        <a:lstStyle/>
        <a:p>
          <a:endParaRPr lang="de-DE"/>
        </a:p>
      </dgm:t>
    </dgm:pt>
    <dgm:pt modelId="{B5674550-F353-47C5-BA44-36EAAA9A3365}" type="pres">
      <dgm:prSet presAssocID="{0E6A115F-8061-49AF-B19D-0F1D5C2ACCB5}" presName="hierFlow" presStyleCnt="0"/>
      <dgm:spPr/>
    </dgm:pt>
    <dgm:pt modelId="{1B1CD25D-3839-49B5-BAF2-B37FBCED95D7}" type="pres">
      <dgm:prSet presAssocID="{0E6A115F-8061-49AF-B19D-0F1D5C2ACCB5}" presName="hierChild1" presStyleCnt="0">
        <dgm:presLayoutVars>
          <dgm:chPref val="1"/>
          <dgm:animOne val="branch"/>
          <dgm:animLvl val="lvl"/>
        </dgm:presLayoutVars>
      </dgm:prSet>
      <dgm:spPr/>
    </dgm:pt>
    <dgm:pt modelId="{48932D22-88C3-45C2-8C21-97635A8CF46B}" type="pres">
      <dgm:prSet presAssocID="{D030D83C-D091-44A9-8DEE-920CB5B53B61}" presName="Name14" presStyleCnt="0"/>
      <dgm:spPr/>
    </dgm:pt>
    <dgm:pt modelId="{6452BF09-AB94-4118-BF5A-6A4B9F03DDBD}" type="pres">
      <dgm:prSet presAssocID="{D030D83C-D091-44A9-8DEE-920CB5B53B61}" presName="level1Shape" presStyleLbl="node0" presStyleIdx="0" presStyleCnt="1" custScaleX="77369" custScaleY="33605">
        <dgm:presLayoutVars>
          <dgm:chPref val="3"/>
        </dgm:presLayoutVars>
      </dgm:prSet>
      <dgm:spPr/>
      <dgm:t>
        <a:bodyPr/>
        <a:lstStyle/>
        <a:p>
          <a:endParaRPr lang="de-DE"/>
        </a:p>
      </dgm:t>
    </dgm:pt>
    <dgm:pt modelId="{694AC3A2-A6CF-406C-B333-CE74B5498D43}" type="pres">
      <dgm:prSet presAssocID="{D030D83C-D091-44A9-8DEE-920CB5B53B61}" presName="hierChild2" presStyleCnt="0"/>
      <dgm:spPr/>
    </dgm:pt>
    <dgm:pt modelId="{711DD94F-0B0E-43B6-84E4-3AC2BBFA0866}" type="pres">
      <dgm:prSet presAssocID="{DC97FE2B-A5F4-4188-B808-96898EA41E85}" presName="Name19" presStyleLbl="parChTrans1D2" presStyleIdx="0" presStyleCnt="2"/>
      <dgm:spPr/>
      <dgm:t>
        <a:bodyPr/>
        <a:lstStyle/>
        <a:p>
          <a:endParaRPr lang="de-DE"/>
        </a:p>
      </dgm:t>
    </dgm:pt>
    <dgm:pt modelId="{675B6841-26C6-4B46-8CAE-E8B8E5BDBB44}" type="pres">
      <dgm:prSet presAssocID="{AC6918BC-7E96-4D63-8D74-3284757062BE}" presName="Name21" presStyleCnt="0"/>
      <dgm:spPr/>
    </dgm:pt>
    <dgm:pt modelId="{911FE394-E55B-40D9-A334-4A97A581499D}" type="pres">
      <dgm:prSet presAssocID="{AC6918BC-7E96-4D63-8D74-3284757062BE}" presName="level2Shape" presStyleLbl="asst1" presStyleIdx="0" presStyleCnt="5" custScaleX="77299" custScaleY="40065"/>
      <dgm:spPr/>
      <dgm:t>
        <a:bodyPr/>
        <a:lstStyle/>
        <a:p>
          <a:endParaRPr lang="de-DE"/>
        </a:p>
      </dgm:t>
    </dgm:pt>
    <dgm:pt modelId="{CB3EBF5F-6647-4F54-958E-A3CD63372D6D}" type="pres">
      <dgm:prSet presAssocID="{AC6918BC-7E96-4D63-8D74-3284757062BE}" presName="hierChild3" presStyleCnt="0"/>
      <dgm:spPr/>
    </dgm:pt>
    <dgm:pt modelId="{CEFC9E56-6C03-41E6-B0DF-2EDAF746BD28}" type="pres">
      <dgm:prSet presAssocID="{E86EA5B8-390A-4FCE-9A71-CD2D7C6CD990}" presName="Name19" presStyleLbl="parChTrans1D3" presStyleIdx="0" presStyleCnt="3"/>
      <dgm:spPr/>
      <dgm:t>
        <a:bodyPr/>
        <a:lstStyle/>
        <a:p>
          <a:endParaRPr lang="de-DE"/>
        </a:p>
      </dgm:t>
    </dgm:pt>
    <dgm:pt modelId="{710DFB80-F951-4F82-844C-2976CB1DAA60}" type="pres">
      <dgm:prSet presAssocID="{AB5E58F6-20BC-4A48-9E10-44F4CF48CA46}" presName="Name21" presStyleCnt="0"/>
      <dgm:spPr/>
    </dgm:pt>
    <dgm:pt modelId="{347F18F4-884D-46D8-81F5-B7546290D76B}" type="pres">
      <dgm:prSet presAssocID="{AB5E58F6-20BC-4A48-9E10-44F4CF48CA46}" presName="level2Shape" presStyleLbl="node3" presStyleIdx="0" presStyleCnt="1" custScaleX="92069" custScaleY="61639"/>
      <dgm:spPr/>
      <dgm:t>
        <a:bodyPr/>
        <a:lstStyle/>
        <a:p>
          <a:endParaRPr lang="de-DE"/>
        </a:p>
      </dgm:t>
    </dgm:pt>
    <dgm:pt modelId="{8F2EB214-BE51-4935-BA88-CFB2D1CD8362}" type="pres">
      <dgm:prSet presAssocID="{AB5E58F6-20BC-4A48-9E10-44F4CF48CA46}" presName="hierChild3" presStyleCnt="0"/>
      <dgm:spPr/>
    </dgm:pt>
    <dgm:pt modelId="{23551216-E96C-4C92-B212-7FEFE374A372}" type="pres">
      <dgm:prSet presAssocID="{7C2BB5BA-B02F-47FC-8769-5550E75FC34F}" presName="Name19" presStyleLbl="parChTrans1D4" presStyleIdx="0" presStyleCnt="2"/>
      <dgm:spPr/>
      <dgm:t>
        <a:bodyPr/>
        <a:lstStyle/>
        <a:p>
          <a:endParaRPr lang="de-DE"/>
        </a:p>
      </dgm:t>
    </dgm:pt>
    <dgm:pt modelId="{573A6567-EF59-4C0B-83A3-F40704E41A90}" type="pres">
      <dgm:prSet presAssocID="{5EBA7523-15CD-4D65-AC9D-215D7329CF75}" presName="Name21" presStyleCnt="0"/>
      <dgm:spPr/>
    </dgm:pt>
    <dgm:pt modelId="{F5F6E958-3A7A-49E9-91BD-0CDF8AA41176}" type="pres">
      <dgm:prSet presAssocID="{5EBA7523-15CD-4D65-AC9D-215D7329CF75}" presName="level2Shape" presStyleLbl="node4" presStyleIdx="0" presStyleCnt="1" custScaleX="168509" custScaleY="49741" custLinFactNeighborX="72834" custLinFactNeighborY="-743"/>
      <dgm:spPr/>
      <dgm:t>
        <a:bodyPr/>
        <a:lstStyle/>
        <a:p>
          <a:endParaRPr lang="de-DE"/>
        </a:p>
      </dgm:t>
    </dgm:pt>
    <dgm:pt modelId="{D685E3D8-5E9C-4C7E-B210-D2CCBA01FAFA}" type="pres">
      <dgm:prSet presAssocID="{5EBA7523-15CD-4D65-AC9D-215D7329CF75}" presName="hierChild3" presStyleCnt="0"/>
      <dgm:spPr/>
    </dgm:pt>
    <dgm:pt modelId="{95DE0257-CC9A-4CCF-AB8E-8223E4558FEE}" type="pres">
      <dgm:prSet presAssocID="{14887B2E-7C70-4E28-B155-598C60B21B54}" presName="Name19" presStyleLbl="parChTrans1D2" presStyleIdx="1" presStyleCnt="2"/>
      <dgm:spPr/>
      <dgm:t>
        <a:bodyPr/>
        <a:lstStyle/>
        <a:p>
          <a:endParaRPr lang="de-DE"/>
        </a:p>
      </dgm:t>
    </dgm:pt>
    <dgm:pt modelId="{6E484C77-7A43-40BD-A734-E914C765DBAD}" type="pres">
      <dgm:prSet presAssocID="{AEAFE1FE-7F3C-47F5-929B-EE7D8E3E1843}" presName="Name21" presStyleCnt="0"/>
      <dgm:spPr/>
    </dgm:pt>
    <dgm:pt modelId="{6C246A8C-9F45-49FB-AF82-725F7B9DCFC4}" type="pres">
      <dgm:prSet presAssocID="{AEAFE1FE-7F3C-47F5-929B-EE7D8E3E1843}" presName="level2Shape" presStyleLbl="asst1" presStyleIdx="1" presStyleCnt="5" custScaleX="74261" custScaleY="39706"/>
      <dgm:spPr/>
      <dgm:t>
        <a:bodyPr/>
        <a:lstStyle/>
        <a:p>
          <a:endParaRPr lang="de-DE"/>
        </a:p>
      </dgm:t>
    </dgm:pt>
    <dgm:pt modelId="{4872E420-0568-4490-BC50-E074A350BDC2}" type="pres">
      <dgm:prSet presAssocID="{AEAFE1FE-7F3C-47F5-929B-EE7D8E3E1843}" presName="hierChild3" presStyleCnt="0"/>
      <dgm:spPr/>
    </dgm:pt>
    <dgm:pt modelId="{DABB229B-2EE8-40D6-9F5D-4DE521F8C368}" type="pres">
      <dgm:prSet presAssocID="{60041D0B-7D0E-4F18-AE6E-D29880276806}" presName="Name19" presStyleLbl="parChTrans1D3" presStyleIdx="1" presStyleCnt="3"/>
      <dgm:spPr/>
      <dgm:t>
        <a:bodyPr/>
        <a:lstStyle/>
        <a:p>
          <a:endParaRPr lang="de-DE"/>
        </a:p>
      </dgm:t>
    </dgm:pt>
    <dgm:pt modelId="{2D0DB197-11AF-4EB1-BF07-A27B2974A911}" type="pres">
      <dgm:prSet presAssocID="{B0620191-8BAA-41DD-9874-AB4FC06C2A5F}" presName="Name21" presStyleCnt="0"/>
      <dgm:spPr/>
    </dgm:pt>
    <dgm:pt modelId="{F3203726-C203-4CC4-95CC-F914C8ECFDBC}" type="pres">
      <dgm:prSet presAssocID="{B0620191-8BAA-41DD-9874-AB4FC06C2A5F}" presName="level2Shape" presStyleLbl="asst1" presStyleIdx="2" presStyleCnt="5" custScaleX="118148" custScaleY="61880"/>
      <dgm:spPr/>
      <dgm:t>
        <a:bodyPr/>
        <a:lstStyle/>
        <a:p>
          <a:endParaRPr lang="de-DE"/>
        </a:p>
      </dgm:t>
    </dgm:pt>
    <dgm:pt modelId="{70DA5D99-F1D8-4E47-8E4B-2C5805FF5F37}" type="pres">
      <dgm:prSet presAssocID="{B0620191-8BAA-41DD-9874-AB4FC06C2A5F}" presName="hierChild3" presStyleCnt="0"/>
      <dgm:spPr/>
    </dgm:pt>
    <dgm:pt modelId="{A4C7EDF9-9B62-4386-92E4-A44C768907A3}" type="pres">
      <dgm:prSet presAssocID="{D7E7D0BC-1B8A-4D8F-A3E2-626D490EAA40}" presName="Name19" presStyleLbl="parChTrans1D4" presStyleIdx="1" presStyleCnt="2"/>
      <dgm:spPr/>
      <dgm:t>
        <a:bodyPr/>
        <a:lstStyle/>
        <a:p>
          <a:endParaRPr lang="de-DE"/>
        </a:p>
      </dgm:t>
    </dgm:pt>
    <dgm:pt modelId="{9EFDC531-254B-4807-8752-7918A108EBE0}" type="pres">
      <dgm:prSet presAssocID="{E75FB164-2945-4B0C-938B-2D7BA2C9AA2A}" presName="Name21" presStyleCnt="0"/>
      <dgm:spPr/>
    </dgm:pt>
    <dgm:pt modelId="{CFCDE61F-8D7C-489E-9552-01A4679BA101}" type="pres">
      <dgm:prSet presAssocID="{E75FB164-2945-4B0C-938B-2D7BA2C9AA2A}" presName="level2Shape" presStyleLbl="asst1" presStyleIdx="3" presStyleCnt="5" custLinFactNeighborX="-91139" custLinFactNeighborY="-1271"/>
      <dgm:spPr/>
      <dgm:t>
        <a:bodyPr/>
        <a:lstStyle/>
        <a:p>
          <a:endParaRPr lang="de-DE"/>
        </a:p>
      </dgm:t>
    </dgm:pt>
    <dgm:pt modelId="{3E1234C7-99B2-4331-A71D-4C646A77EF81}" type="pres">
      <dgm:prSet presAssocID="{E75FB164-2945-4B0C-938B-2D7BA2C9AA2A}" presName="hierChild3" presStyleCnt="0"/>
      <dgm:spPr/>
    </dgm:pt>
    <dgm:pt modelId="{3F9E01A2-73B6-4BAB-8725-64F79BCB5B5B}" type="pres">
      <dgm:prSet presAssocID="{20453457-CF9F-429D-AABC-693D56A38BBC}" presName="Name19" presStyleLbl="parChTrans1D3" presStyleIdx="2" presStyleCnt="3"/>
      <dgm:spPr/>
      <dgm:t>
        <a:bodyPr/>
        <a:lstStyle/>
        <a:p>
          <a:endParaRPr lang="de-DE"/>
        </a:p>
      </dgm:t>
    </dgm:pt>
    <dgm:pt modelId="{185D0F65-17C8-4DEE-95BD-86CBC6D7D479}" type="pres">
      <dgm:prSet presAssocID="{7683D168-FF54-4B89-BFFC-18C5D00794DA}" presName="Name21" presStyleCnt="0"/>
      <dgm:spPr/>
    </dgm:pt>
    <dgm:pt modelId="{C32D4255-73A2-401E-82F6-7C25C35DB791}" type="pres">
      <dgm:prSet presAssocID="{7683D168-FF54-4B89-BFFC-18C5D00794DA}" presName="level2Shape" presStyleLbl="asst1" presStyleIdx="4" presStyleCnt="5" custScaleX="120645" custScaleY="61639"/>
      <dgm:spPr/>
      <dgm:t>
        <a:bodyPr/>
        <a:lstStyle/>
        <a:p>
          <a:endParaRPr lang="de-DE"/>
        </a:p>
      </dgm:t>
    </dgm:pt>
    <dgm:pt modelId="{2CCE155B-8461-4BC6-9254-FECE873D4D98}" type="pres">
      <dgm:prSet presAssocID="{7683D168-FF54-4B89-BFFC-18C5D00794DA}" presName="hierChild3" presStyleCnt="0"/>
      <dgm:spPr/>
    </dgm:pt>
    <dgm:pt modelId="{0C4D918A-1EA5-4175-9FC4-A04B8D7B35F0}" type="pres">
      <dgm:prSet presAssocID="{0E6A115F-8061-49AF-B19D-0F1D5C2ACCB5}" presName="bgShapesFlow" presStyleCnt="0"/>
      <dgm:spPr/>
    </dgm:pt>
  </dgm:ptLst>
  <dgm:cxnLst>
    <dgm:cxn modelId="{47CCEE9F-E44C-4E9B-811E-AADED14991CC}" type="presOf" srcId="{14887B2E-7C70-4E28-B155-598C60B21B54}" destId="{95DE0257-CC9A-4CCF-AB8E-8223E4558FEE}" srcOrd="0" destOrd="0" presId="urn:microsoft.com/office/officeart/2005/8/layout/hierarchy6"/>
    <dgm:cxn modelId="{E9FC481E-CE01-4FBE-B2C4-438F0FFD33C3}" srcId="{AB5E58F6-20BC-4A48-9E10-44F4CF48CA46}" destId="{5EBA7523-15CD-4D65-AC9D-215D7329CF75}" srcOrd="0" destOrd="0" parTransId="{7C2BB5BA-B02F-47FC-8769-5550E75FC34F}" sibTransId="{59B84D5A-2934-4D16-A8A3-C9CD19B7B3AE}"/>
    <dgm:cxn modelId="{744FB1C2-1558-4C20-AB5E-4552E607BE6F}" type="presOf" srcId="{B0620191-8BAA-41DD-9874-AB4FC06C2A5F}" destId="{F3203726-C203-4CC4-95CC-F914C8ECFDBC}" srcOrd="0" destOrd="0" presId="urn:microsoft.com/office/officeart/2005/8/layout/hierarchy6"/>
    <dgm:cxn modelId="{20CAF9B6-3272-4E6C-9326-1E26794CD444}" srcId="{AC6918BC-7E96-4D63-8D74-3284757062BE}" destId="{AB5E58F6-20BC-4A48-9E10-44F4CF48CA46}" srcOrd="0" destOrd="0" parTransId="{E86EA5B8-390A-4FCE-9A71-CD2D7C6CD990}" sibTransId="{E4A6A79E-2337-45CB-A458-4A3A7C392129}"/>
    <dgm:cxn modelId="{9A73F89F-86EA-45AC-86BC-6E5CE2944E83}" type="presOf" srcId="{E86EA5B8-390A-4FCE-9A71-CD2D7C6CD990}" destId="{CEFC9E56-6C03-41E6-B0DF-2EDAF746BD28}" srcOrd="0" destOrd="0" presId="urn:microsoft.com/office/officeart/2005/8/layout/hierarchy6"/>
    <dgm:cxn modelId="{C75B6835-1CC1-4144-AA66-1B12274AEF3C}" type="presOf" srcId="{DC97FE2B-A5F4-4188-B808-96898EA41E85}" destId="{711DD94F-0B0E-43B6-84E4-3AC2BBFA0866}" srcOrd="0" destOrd="0" presId="urn:microsoft.com/office/officeart/2005/8/layout/hierarchy6"/>
    <dgm:cxn modelId="{A0AC6505-43B3-4E21-8162-C5045371F173}" srcId="{AEAFE1FE-7F3C-47F5-929B-EE7D8E3E1843}" destId="{B0620191-8BAA-41DD-9874-AB4FC06C2A5F}" srcOrd="0" destOrd="0" parTransId="{60041D0B-7D0E-4F18-AE6E-D29880276806}" sibTransId="{65B0A5D9-630C-4B40-86F3-4F5936D19643}"/>
    <dgm:cxn modelId="{7BEC5179-8026-42C2-BD22-65F9E488C8FA}" type="presOf" srcId="{AEAFE1FE-7F3C-47F5-929B-EE7D8E3E1843}" destId="{6C246A8C-9F45-49FB-AF82-725F7B9DCFC4}" srcOrd="0" destOrd="0" presId="urn:microsoft.com/office/officeart/2005/8/layout/hierarchy6"/>
    <dgm:cxn modelId="{1A6FD328-DAF4-44E8-A8EB-5E9845F1FD70}" type="presOf" srcId="{D030D83C-D091-44A9-8DEE-920CB5B53B61}" destId="{6452BF09-AB94-4118-BF5A-6A4B9F03DDBD}" srcOrd="0" destOrd="0" presId="urn:microsoft.com/office/officeart/2005/8/layout/hierarchy6"/>
    <dgm:cxn modelId="{C45881AB-65C5-42D3-AA1B-3BFD11EC1E6E}" type="presOf" srcId="{5EBA7523-15CD-4D65-AC9D-215D7329CF75}" destId="{F5F6E958-3A7A-49E9-91BD-0CDF8AA41176}" srcOrd="0" destOrd="0" presId="urn:microsoft.com/office/officeart/2005/8/layout/hierarchy6"/>
    <dgm:cxn modelId="{4F24343A-AA06-4A45-909D-36B396C6E1AE}" type="presOf" srcId="{7C2BB5BA-B02F-47FC-8769-5550E75FC34F}" destId="{23551216-E96C-4C92-B212-7FEFE374A372}" srcOrd="0" destOrd="0" presId="urn:microsoft.com/office/officeart/2005/8/layout/hierarchy6"/>
    <dgm:cxn modelId="{FD313A27-8AAD-4DC9-8EC0-253D9102B24D}" type="presOf" srcId="{AC6918BC-7E96-4D63-8D74-3284757062BE}" destId="{911FE394-E55B-40D9-A334-4A97A581499D}" srcOrd="0" destOrd="0" presId="urn:microsoft.com/office/officeart/2005/8/layout/hierarchy6"/>
    <dgm:cxn modelId="{A3910DAA-AC50-45FA-97A3-EA9F1AE30C6E}" type="presOf" srcId="{E75FB164-2945-4B0C-938B-2D7BA2C9AA2A}" destId="{CFCDE61F-8D7C-489E-9552-01A4679BA101}" srcOrd="0" destOrd="0" presId="urn:microsoft.com/office/officeart/2005/8/layout/hierarchy6"/>
    <dgm:cxn modelId="{15DFA286-0749-443E-9826-A30C5B731A79}" type="presOf" srcId="{AB5E58F6-20BC-4A48-9E10-44F4CF48CA46}" destId="{347F18F4-884D-46D8-81F5-B7546290D76B}" srcOrd="0" destOrd="0" presId="urn:microsoft.com/office/officeart/2005/8/layout/hierarchy6"/>
    <dgm:cxn modelId="{961C58FE-B2B7-400F-BEA5-DDEC614CE7BA}" type="presOf" srcId="{20453457-CF9F-429D-AABC-693D56A38BBC}" destId="{3F9E01A2-73B6-4BAB-8725-64F79BCB5B5B}" srcOrd="0" destOrd="0" presId="urn:microsoft.com/office/officeart/2005/8/layout/hierarchy6"/>
    <dgm:cxn modelId="{0593DDB2-9E9F-4F68-A741-1E38B87F7746}" srcId="{D030D83C-D091-44A9-8DEE-920CB5B53B61}" destId="{AC6918BC-7E96-4D63-8D74-3284757062BE}" srcOrd="0" destOrd="0" parTransId="{DC97FE2B-A5F4-4188-B808-96898EA41E85}" sibTransId="{720DD1A7-2EF0-43D7-B3AC-F518D00D75C7}"/>
    <dgm:cxn modelId="{4F2A5239-6D0A-4D97-9C34-79A7AF46F648}" srcId="{AEAFE1FE-7F3C-47F5-929B-EE7D8E3E1843}" destId="{7683D168-FF54-4B89-BFFC-18C5D00794DA}" srcOrd="1" destOrd="0" parTransId="{20453457-CF9F-429D-AABC-693D56A38BBC}" sibTransId="{0669D478-A9AF-47A4-B4D9-B58FB7179BCD}"/>
    <dgm:cxn modelId="{85D8AF02-407A-4741-B11F-E5957C0CACBC}" type="presOf" srcId="{D7E7D0BC-1B8A-4D8F-A3E2-626D490EAA40}" destId="{A4C7EDF9-9B62-4386-92E4-A44C768907A3}" srcOrd="0" destOrd="0" presId="urn:microsoft.com/office/officeart/2005/8/layout/hierarchy6"/>
    <dgm:cxn modelId="{95004DAF-9056-4066-B84B-C583C3473F79}" srcId="{B0620191-8BAA-41DD-9874-AB4FC06C2A5F}" destId="{E75FB164-2945-4B0C-938B-2D7BA2C9AA2A}" srcOrd="0" destOrd="0" parTransId="{D7E7D0BC-1B8A-4D8F-A3E2-626D490EAA40}" sibTransId="{56D67354-B456-4022-B8AE-0E977B240EF5}"/>
    <dgm:cxn modelId="{ED9EF97D-D3C6-4A51-88AF-CF30BB884663}" srcId="{D030D83C-D091-44A9-8DEE-920CB5B53B61}" destId="{AEAFE1FE-7F3C-47F5-929B-EE7D8E3E1843}" srcOrd="1" destOrd="0" parTransId="{14887B2E-7C70-4E28-B155-598C60B21B54}" sibTransId="{2422BE0B-58E6-4506-8213-F39E72C5392C}"/>
    <dgm:cxn modelId="{164DD9E6-2114-4BE3-B699-19FF3B655B12}" srcId="{0E6A115F-8061-49AF-B19D-0F1D5C2ACCB5}" destId="{D030D83C-D091-44A9-8DEE-920CB5B53B61}" srcOrd="0" destOrd="0" parTransId="{8CF2D23A-0C88-4FC4-BC61-649277F921BD}" sibTransId="{311CBC06-E2FD-4379-8627-C267BEF5E009}"/>
    <dgm:cxn modelId="{6A551A46-8407-4AAC-A4D4-1A94C9EB2916}" type="presOf" srcId="{60041D0B-7D0E-4F18-AE6E-D29880276806}" destId="{DABB229B-2EE8-40D6-9F5D-4DE521F8C368}" srcOrd="0" destOrd="0" presId="urn:microsoft.com/office/officeart/2005/8/layout/hierarchy6"/>
    <dgm:cxn modelId="{05DF6F59-2F15-42D7-B48B-1882EDB9F945}" type="presOf" srcId="{0E6A115F-8061-49AF-B19D-0F1D5C2ACCB5}" destId="{405A5AC3-6993-4325-A6B1-3E3C9EAC5CC3}" srcOrd="0" destOrd="0" presId="urn:microsoft.com/office/officeart/2005/8/layout/hierarchy6"/>
    <dgm:cxn modelId="{8D480D86-07CB-4C6C-8937-9A48F4BB578F}" type="presOf" srcId="{7683D168-FF54-4B89-BFFC-18C5D00794DA}" destId="{C32D4255-73A2-401E-82F6-7C25C35DB791}" srcOrd="0" destOrd="0" presId="urn:microsoft.com/office/officeart/2005/8/layout/hierarchy6"/>
    <dgm:cxn modelId="{A547E8FC-B5B7-45C3-B179-4899ED16143F}" type="presParOf" srcId="{405A5AC3-6993-4325-A6B1-3E3C9EAC5CC3}" destId="{B5674550-F353-47C5-BA44-36EAAA9A3365}" srcOrd="0" destOrd="0" presId="urn:microsoft.com/office/officeart/2005/8/layout/hierarchy6"/>
    <dgm:cxn modelId="{3832FBF8-7C1A-4135-BD33-8A1229DB1145}" type="presParOf" srcId="{B5674550-F353-47C5-BA44-36EAAA9A3365}" destId="{1B1CD25D-3839-49B5-BAF2-B37FBCED95D7}" srcOrd="0" destOrd="0" presId="urn:microsoft.com/office/officeart/2005/8/layout/hierarchy6"/>
    <dgm:cxn modelId="{6BE2889C-320C-4041-A3D0-B8BF52446FF6}" type="presParOf" srcId="{1B1CD25D-3839-49B5-BAF2-B37FBCED95D7}" destId="{48932D22-88C3-45C2-8C21-97635A8CF46B}" srcOrd="0" destOrd="0" presId="urn:microsoft.com/office/officeart/2005/8/layout/hierarchy6"/>
    <dgm:cxn modelId="{F0D571C8-B9A9-4E5E-AC91-A7B28CA2FFEF}" type="presParOf" srcId="{48932D22-88C3-45C2-8C21-97635A8CF46B}" destId="{6452BF09-AB94-4118-BF5A-6A4B9F03DDBD}" srcOrd="0" destOrd="0" presId="urn:microsoft.com/office/officeart/2005/8/layout/hierarchy6"/>
    <dgm:cxn modelId="{773F7755-DE1B-4AD8-BEEC-47F40A531C7D}" type="presParOf" srcId="{48932D22-88C3-45C2-8C21-97635A8CF46B}" destId="{694AC3A2-A6CF-406C-B333-CE74B5498D43}" srcOrd="1" destOrd="0" presId="urn:microsoft.com/office/officeart/2005/8/layout/hierarchy6"/>
    <dgm:cxn modelId="{4044A28A-040C-4600-8C78-C605DE341636}" type="presParOf" srcId="{694AC3A2-A6CF-406C-B333-CE74B5498D43}" destId="{711DD94F-0B0E-43B6-84E4-3AC2BBFA0866}" srcOrd="0" destOrd="0" presId="urn:microsoft.com/office/officeart/2005/8/layout/hierarchy6"/>
    <dgm:cxn modelId="{2BB85052-4678-4C0A-B839-A1270DE2BEBB}" type="presParOf" srcId="{694AC3A2-A6CF-406C-B333-CE74B5498D43}" destId="{675B6841-26C6-4B46-8CAE-E8B8E5BDBB44}" srcOrd="1" destOrd="0" presId="urn:microsoft.com/office/officeart/2005/8/layout/hierarchy6"/>
    <dgm:cxn modelId="{0B3DF584-CB58-4974-88BF-2F925190E499}" type="presParOf" srcId="{675B6841-26C6-4B46-8CAE-E8B8E5BDBB44}" destId="{911FE394-E55B-40D9-A334-4A97A581499D}" srcOrd="0" destOrd="0" presId="urn:microsoft.com/office/officeart/2005/8/layout/hierarchy6"/>
    <dgm:cxn modelId="{4C12EBD7-18DE-4733-B4E2-011840641067}" type="presParOf" srcId="{675B6841-26C6-4B46-8CAE-E8B8E5BDBB44}" destId="{CB3EBF5F-6647-4F54-958E-A3CD63372D6D}" srcOrd="1" destOrd="0" presId="urn:microsoft.com/office/officeart/2005/8/layout/hierarchy6"/>
    <dgm:cxn modelId="{4A4D3F95-FCB2-4A9A-9088-888D879AE6D2}" type="presParOf" srcId="{CB3EBF5F-6647-4F54-958E-A3CD63372D6D}" destId="{CEFC9E56-6C03-41E6-B0DF-2EDAF746BD28}" srcOrd="0" destOrd="0" presId="urn:microsoft.com/office/officeart/2005/8/layout/hierarchy6"/>
    <dgm:cxn modelId="{E3F17CA0-CD09-49F4-A74D-E2715EED152B}" type="presParOf" srcId="{CB3EBF5F-6647-4F54-958E-A3CD63372D6D}" destId="{710DFB80-F951-4F82-844C-2976CB1DAA60}" srcOrd="1" destOrd="0" presId="urn:microsoft.com/office/officeart/2005/8/layout/hierarchy6"/>
    <dgm:cxn modelId="{5E32A755-4AE0-47E2-8A9B-D16D3770D6E3}" type="presParOf" srcId="{710DFB80-F951-4F82-844C-2976CB1DAA60}" destId="{347F18F4-884D-46D8-81F5-B7546290D76B}" srcOrd="0" destOrd="0" presId="urn:microsoft.com/office/officeart/2005/8/layout/hierarchy6"/>
    <dgm:cxn modelId="{F2887EBD-CF1A-48A5-A940-2B7EF022B54A}" type="presParOf" srcId="{710DFB80-F951-4F82-844C-2976CB1DAA60}" destId="{8F2EB214-BE51-4935-BA88-CFB2D1CD8362}" srcOrd="1" destOrd="0" presId="urn:microsoft.com/office/officeart/2005/8/layout/hierarchy6"/>
    <dgm:cxn modelId="{E75DE294-6379-4A1C-92F2-2377108A5232}" type="presParOf" srcId="{8F2EB214-BE51-4935-BA88-CFB2D1CD8362}" destId="{23551216-E96C-4C92-B212-7FEFE374A372}" srcOrd="0" destOrd="0" presId="urn:microsoft.com/office/officeart/2005/8/layout/hierarchy6"/>
    <dgm:cxn modelId="{AFC0DDB8-4595-46DE-AE7A-F39494CBFA74}" type="presParOf" srcId="{8F2EB214-BE51-4935-BA88-CFB2D1CD8362}" destId="{573A6567-EF59-4C0B-83A3-F40704E41A90}" srcOrd="1" destOrd="0" presId="urn:microsoft.com/office/officeart/2005/8/layout/hierarchy6"/>
    <dgm:cxn modelId="{63178583-9406-4992-ADF6-B39FC6A3CDF3}" type="presParOf" srcId="{573A6567-EF59-4C0B-83A3-F40704E41A90}" destId="{F5F6E958-3A7A-49E9-91BD-0CDF8AA41176}" srcOrd="0" destOrd="0" presId="urn:microsoft.com/office/officeart/2005/8/layout/hierarchy6"/>
    <dgm:cxn modelId="{5E44F248-5653-4454-8446-58223D837513}" type="presParOf" srcId="{573A6567-EF59-4C0B-83A3-F40704E41A90}" destId="{D685E3D8-5E9C-4C7E-B210-D2CCBA01FAFA}" srcOrd="1" destOrd="0" presId="urn:microsoft.com/office/officeart/2005/8/layout/hierarchy6"/>
    <dgm:cxn modelId="{A1CD6B7C-33F7-4797-880E-8F4F6E13C8C7}" type="presParOf" srcId="{694AC3A2-A6CF-406C-B333-CE74B5498D43}" destId="{95DE0257-CC9A-4CCF-AB8E-8223E4558FEE}" srcOrd="2" destOrd="0" presId="urn:microsoft.com/office/officeart/2005/8/layout/hierarchy6"/>
    <dgm:cxn modelId="{7EE74631-D164-4290-87BA-83C454D4988B}" type="presParOf" srcId="{694AC3A2-A6CF-406C-B333-CE74B5498D43}" destId="{6E484C77-7A43-40BD-A734-E914C765DBAD}" srcOrd="3" destOrd="0" presId="urn:microsoft.com/office/officeart/2005/8/layout/hierarchy6"/>
    <dgm:cxn modelId="{C21B808F-4FAB-4B72-B2EC-E2E6FDC14C86}" type="presParOf" srcId="{6E484C77-7A43-40BD-A734-E914C765DBAD}" destId="{6C246A8C-9F45-49FB-AF82-725F7B9DCFC4}" srcOrd="0" destOrd="0" presId="urn:microsoft.com/office/officeart/2005/8/layout/hierarchy6"/>
    <dgm:cxn modelId="{2125E699-9478-4BEB-BFAA-08D20F1E94C7}" type="presParOf" srcId="{6E484C77-7A43-40BD-A734-E914C765DBAD}" destId="{4872E420-0568-4490-BC50-E074A350BDC2}" srcOrd="1" destOrd="0" presId="urn:microsoft.com/office/officeart/2005/8/layout/hierarchy6"/>
    <dgm:cxn modelId="{7929ED02-17AA-4E18-AD0A-F115007183B0}" type="presParOf" srcId="{4872E420-0568-4490-BC50-E074A350BDC2}" destId="{DABB229B-2EE8-40D6-9F5D-4DE521F8C368}" srcOrd="0" destOrd="0" presId="urn:microsoft.com/office/officeart/2005/8/layout/hierarchy6"/>
    <dgm:cxn modelId="{9D1CC020-FD48-4944-AEE4-EEA27A94DBE6}" type="presParOf" srcId="{4872E420-0568-4490-BC50-E074A350BDC2}" destId="{2D0DB197-11AF-4EB1-BF07-A27B2974A911}" srcOrd="1" destOrd="0" presId="urn:microsoft.com/office/officeart/2005/8/layout/hierarchy6"/>
    <dgm:cxn modelId="{92D61734-0398-4E05-B3AA-3120A8AF4FAB}" type="presParOf" srcId="{2D0DB197-11AF-4EB1-BF07-A27B2974A911}" destId="{F3203726-C203-4CC4-95CC-F914C8ECFDBC}" srcOrd="0" destOrd="0" presId="urn:microsoft.com/office/officeart/2005/8/layout/hierarchy6"/>
    <dgm:cxn modelId="{F5C1AB57-324C-49D9-B11B-12E04BACA80A}" type="presParOf" srcId="{2D0DB197-11AF-4EB1-BF07-A27B2974A911}" destId="{70DA5D99-F1D8-4E47-8E4B-2C5805FF5F37}" srcOrd="1" destOrd="0" presId="urn:microsoft.com/office/officeart/2005/8/layout/hierarchy6"/>
    <dgm:cxn modelId="{313D9F9F-7529-426F-A911-AED934DB584F}" type="presParOf" srcId="{70DA5D99-F1D8-4E47-8E4B-2C5805FF5F37}" destId="{A4C7EDF9-9B62-4386-92E4-A44C768907A3}" srcOrd="0" destOrd="0" presId="urn:microsoft.com/office/officeart/2005/8/layout/hierarchy6"/>
    <dgm:cxn modelId="{D1C1A0B3-10A6-48FC-A7DF-49C73F3ECCC2}" type="presParOf" srcId="{70DA5D99-F1D8-4E47-8E4B-2C5805FF5F37}" destId="{9EFDC531-254B-4807-8752-7918A108EBE0}" srcOrd="1" destOrd="0" presId="urn:microsoft.com/office/officeart/2005/8/layout/hierarchy6"/>
    <dgm:cxn modelId="{884A335D-973A-41AA-907D-5C2AB231790D}" type="presParOf" srcId="{9EFDC531-254B-4807-8752-7918A108EBE0}" destId="{CFCDE61F-8D7C-489E-9552-01A4679BA101}" srcOrd="0" destOrd="0" presId="urn:microsoft.com/office/officeart/2005/8/layout/hierarchy6"/>
    <dgm:cxn modelId="{14CBF583-485C-45A6-8EBA-7A3060310FE2}" type="presParOf" srcId="{9EFDC531-254B-4807-8752-7918A108EBE0}" destId="{3E1234C7-99B2-4331-A71D-4C646A77EF81}" srcOrd="1" destOrd="0" presId="urn:microsoft.com/office/officeart/2005/8/layout/hierarchy6"/>
    <dgm:cxn modelId="{2FD26FA2-DFAC-4E08-BA83-5A0CAF775299}" type="presParOf" srcId="{4872E420-0568-4490-BC50-E074A350BDC2}" destId="{3F9E01A2-73B6-4BAB-8725-64F79BCB5B5B}" srcOrd="2" destOrd="0" presId="urn:microsoft.com/office/officeart/2005/8/layout/hierarchy6"/>
    <dgm:cxn modelId="{B3B86C18-4AD5-485E-BFD6-478EE67BE34F}" type="presParOf" srcId="{4872E420-0568-4490-BC50-E074A350BDC2}" destId="{185D0F65-17C8-4DEE-95BD-86CBC6D7D479}" srcOrd="3" destOrd="0" presId="urn:microsoft.com/office/officeart/2005/8/layout/hierarchy6"/>
    <dgm:cxn modelId="{88978C57-4447-4EF1-8F58-CA80DF15982C}" type="presParOf" srcId="{185D0F65-17C8-4DEE-95BD-86CBC6D7D479}" destId="{C32D4255-73A2-401E-82F6-7C25C35DB791}" srcOrd="0" destOrd="0" presId="urn:microsoft.com/office/officeart/2005/8/layout/hierarchy6"/>
    <dgm:cxn modelId="{C4FC4614-6CC3-4922-B407-D5804A90D076}" type="presParOf" srcId="{185D0F65-17C8-4DEE-95BD-86CBC6D7D479}" destId="{2CCE155B-8461-4BC6-9254-FECE873D4D98}" srcOrd="1" destOrd="0" presId="urn:microsoft.com/office/officeart/2005/8/layout/hierarchy6"/>
    <dgm:cxn modelId="{6D7ABF8B-045C-4454-B732-AD0AF7E85789}" type="presParOf" srcId="{405A5AC3-6993-4325-A6B1-3E3C9EAC5CC3}" destId="{0C4D918A-1EA5-4175-9FC4-A04B8D7B35F0}" srcOrd="1" destOrd="0" presId="urn:microsoft.com/office/officeart/2005/8/layout/hierarchy6"/>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6A115F-8061-49AF-B19D-0F1D5C2ACCB5}"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de-DE"/>
        </a:p>
      </dgm:t>
    </dgm:pt>
    <dgm:pt modelId="{D030D83C-D091-44A9-8DEE-920CB5B53B61}">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2000" b="1" dirty="0" smtClean="0">
              <a:solidFill>
                <a:srgbClr val="572381"/>
              </a:solidFill>
              <a:latin typeface="Calibri" panose="020F0502020204030204" pitchFamily="34" charset="0"/>
              <a:ea typeface="+mn-ea"/>
              <a:cs typeface="Calibri" panose="020F0502020204030204" pitchFamily="34" charset="0"/>
            </a:rPr>
            <a:t>nicht steuerbar</a:t>
          </a:r>
          <a:r>
            <a:rPr lang="de-DE" sz="1400" b="0" dirty="0" smtClean="0">
              <a:solidFill>
                <a:srgbClr val="572381"/>
              </a:solidFill>
              <a:latin typeface="Calibri" panose="020F0502020204030204" pitchFamily="34" charset="0"/>
              <a:ea typeface="+mn-ea"/>
              <a:cs typeface="Calibri" panose="020F0502020204030204" pitchFamily="34" charset="0"/>
            </a:rPr>
            <a:t> </a:t>
          </a:r>
          <a:endParaRPr lang="de-DE" sz="1400" b="0" dirty="0">
            <a:solidFill>
              <a:srgbClr val="572381"/>
            </a:solidFill>
            <a:latin typeface="Calibri" panose="020F0502020204030204" pitchFamily="34" charset="0"/>
            <a:ea typeface="+mn-ea"/>
            <a:cs typeface="Calibri" panose="020F0502020204030204" pitchFamily="34" charset="0"/>
          </a:endParaRPr>
        </a:p>
      </dgm:t>
    </dgm:pt>
    <dgm:pt modelId="{8CF2D23A-0C88-4FC4-BC61-649277F921BD}" type="parTrans" cxnId="{164DD9E6-2114-4BE3-B699-19FF3B655B12}">
      <dgm:prSet/>
      <dgm:spPr/>
      <dgm:t>
        <a:bodyPr/>
        <a:lstStyle/>
        <a:p>
          <a:endParaRPr lang="de-DE"/>
        </a:p>
      </dgm:t>
    </dgm:pt>
    <dgm:pt modelId="{311CBC06-E2FD-4379-8627-C267BEF5E009}" type="sibTrans" cxnId="{164DD9E6-2114-4BE3-B699-19FF3B655B12}">
      <dgm:prSet/>
      <dgm:spPr/>
      <dgm:t>
        <a:bodyPr/>
        <a:lstStyle/>
        <a:p>
          <a:endParaRPr lang="de-DE"/>
        </a:p>
      </dgm:t>
    </dgm:pt>
    <dgm:pt modelId="{AC6918BC-7E96-4D63-8D74-3284757062BE}" type="asst">
      <dgm:prSet phldrT="[Text]" custT="1"/>
      <dgm:spPr>
        <a:gradFill flip="none" rotWithShape="0">
          <a:gsLst>
            <a:gs pos="0">
              <a:schemeClr val="accent3">
                <a:lumMod val="95000"/>
                <a:shade val="30000"/>
                <a:satMod val="115000"/>
              </a:schemeClr>
            </a:gs>
            <a:gs pos="50000">
              <a:schemeClr val="accent3">
                <a:lumMod val="95000"/>
                <a:shade val="67500"/>
                <a:satMod val="115000"/>
              </a:schemeClr>
            </a:gs>
            <a:gs pos="100000">
              <a:schemeClr val="accent3">
                <a:lumMod val="95000"/>
                <a:shade val="100000"/>
                <a:satMod val="115000"/>
              </a:schemeClr>
            </a:gs>
          </a:gsLst>
          <a:lin ang="8100000" scaled="1"/>
          <a:tileRect/>
        </a:gradFill>
        <a:ln>
          <a:solidFill>
            <a:srgbClr val="57238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de-DE" sz="1400" b="0" dirty="0" smtClean="0">
              <a:solidFill>
                <a:srgbClr val="572381"/>
              </a:solidFill>
              <a:latin typeface="Calibri" panose="020F0502020204030204" pitchFamily="34" charset="0"/>
              <a:ea typeface="+mn-ea"/>
              <a:cs typeface="Calibri" panose="020F0502020204030204" pitchFamily="34" charset="0"/>
            </a:rPr>
            <a:t>Art der zugehörigen Ausgangsleistung (Umsatz)</a:t>
          </a:r>
        </a:p>
      </dgm:t>
    </dgm:pt>
    <dgm:pt modelId="{DC97FE2B-A5F4-4188-B808-96898EA41E85}" type="parTrans" cxnId="{0593DDB2-9E9F-4F68-A741-1E38B87F7746}">
      <dgm:prSet/>
      <dgm:spPr>
        <a:solidFill>
          <a:srgbClr val="572381"/>
        </a:solidFill>
        <a:ln>
          <a:solidFill>
            <a:srgbClr val="572381"/>
          </a:solidFill>
        </a:ln>
      </dgm:spPr>
      <dgm:t>
        <a:bodyPr/>
        <a:lstStyle/>
        <a:p>
          <a:endParaRPr lang="de-DE"/>
        </a:p>
      </dgm:t>
    </dgm:pt>
    <dgm:pt modelId="{720DD1A7-2EF0-43D7-B3AC-F518D00D75C7}" type="sibTrans" cxnId="{0593DDB2-9E9F-4F68-A741-1E38B87F7746}">
      <dgm:prSet/>
      <dgm:spPr/>
      <dgm:t>
        <a:bodyPr/>
        <a:lstStyle/>
        <a:p>
          <a:endParaRPr lang="de-DE"/>
        </a:p>
      </dgm:t>
    </dgm:pt>
    <dgm:pt modelId="{FAF04637-6B5C-4502-A59A-0DD246780902}" type="pres">
      <dgm:prSet presAssocID="{0E6A115F-8061-49AF-B19D-0F1D5C2ACCB5}" presName="diagram" presStyleCnt="0">
        <dgm:presLayoutVars>
          <dgm:chPref val="1"/>
          <dgm:dir/>
          <dgm:animOne val="branch"/>
          <dgm:animLvl val="lvl"/>
          <dgm:resizeHandles val="exact"/>
        </dgm:presLayoutVars>
      </dgm:prSet>
      <dgm:spPr/>
      <dgm:t>
        <a:bodyPr/>
        <a:lstStyle/>
        <a:p>
          <a:endParaRPr lang="de-DE"/>
        </a:p>
      </dgm:t>
    </dgm:pt>
    <dgm:pt modelId="{4391647A-A486-4573-9011-7EDA14A4CCF7}" type="pres">
      <dgm:prSet presAssocID="{D030D83C-D091-44A9-8DEE-920CB5B53B61}" presName="root1" presStyleCnt="0"/>
      <dgm:spPr/>
    </dgm:pt>
    <dgm:pt modelId="{C5924AFA-0699-4755-A732-E73E9D289AEF}" type="pres">
      <dgm:prSet presAssocID="{D030D83C-D091-44A9-8DEE-920CB5B53B61}" presName="LevelOneTextNode" presStyleLbl="node0" presStyleIdx="0" presStyleCnt="1" custScaleX="55087" custScaleY="28624">
        <dgm:presLayoutVars>
          <dgm:chPref val="3"/>
        </dgm:presLayoutVars>
      </dgm:prSet>
      <dgm:spPr/>
      <dgm:t>
        <a:bodyPr/>
        <a:lstStyle/>
        <a:p>
          <a:endParaRPr lang="de-DE"/>
        </a:p>
      </dgm:t>
    </dgm:pt>
    <dgm:pt modelId="{19076173-7B27-409B-A973-8883250E0696}" type="pres">
      <dgm:prSet presAssocID="{D030D83C-D091-44A9-8DEE-920CB5B53B61}" presName="level2hierChild" presStyleCnt="0"/>
      <dgm:spPr/>
    </dgm:pt>
    <dgm:pt modelId="{FE9FBB16-820E-4B60-82EE-C7017125CB2C}" type="pres">
      <dgm:prSet presAssocID="{DC97FE2B-A5F4-4188-B808-96898EA41E85}" presName="conn2-1" presStyleLbl="parChTrans1D2" presStyleIdx="0" presStyleCnt="1"/>
      <dgm:spPr/>
      <dgm:t>
        <a:bodyPr/>
        <a:lstStyle/>
        <a:p>
          <a:endParaRPr lang="de-DE"/>
        </a:p>
      </dgm:t>
    </dgm:pt>
    <dgm:pt modelId="{9EDB0DE1-B7E1-409B-B04C-4C4F4E590B4C}" type="pres">
      <dgm:prSet presAssocID="{DC97FE2B-A5F4-4188-B808-96898EA41E85}" presName="connTx" presStyleLbl="parChTrans1D2" presStyleIdx="0" presStyleCnt="1"/>
      <dgm:spPr/>
      <dgm:t>
        <a:bodyPr/>
        <a:lstStyle/>
        <a:p>
          <a:endParaRPr lang="de-DE"/>
        </a:p>
      </dgm:t>
    </dgm:pt>
    <dgm:pt modelId="{2B2402F3-DEC5-4D8C-AC56-C99F35F9F4B5}" type="pres">
      <dgm:prSet presAssocID="{AC6918BC-7E96-4D63-8D74-3284757062BE}" presName="root2" presStyleCnt="0"/>
      <dgm:spPr/>
    </dgm:pt>
    <dgm:pt modelId="{483B4DB7-2808-42B8-AEFA-065DA9264BE4}" type="pres">
      <dgm:prSet presAssocID="{AC6918BC-7E96-4D63-8D74-3284757062BE}" presName="LevelTwoTextNode" presStyleLbl="asst1" presStyleIdx="0" presStyleCnt="1" custScaleX="47207" custScaleY="80042" custLinFactNeighborX="-26093" custLinFactNeighborY="-13">
        <dgm:presLayoutVars>
          <dgm:chPref val="3"/>
        </dgm:presLayoutVars>
      </dgm:prSet>
      <dgm:spPr/>
      <dgm:t>
        <a:bodyPr/>
        <a:lstStyle/>
        <a:p>
          <a:endParaRPr lang="de-DE"/>
        </a:p>
      </dgm:t>
    </dgm:pt>
    <dgm:pt modelId="{11FFA301-819C-4FAD-9154-A59E0CA0568D}" type="pres">
      <dgm:prSet presAssocID="{AC6918BC-7E96-4D63-8D74-3284757062BE}" presName="level3hierChild" presStyleCnt="0"/>
      <dgm:spPr/>
    </dgm:pt>
  </dgm:ptLst>
  <dgm:cxnLst>
    <dgm:cxn modelId="{773D383A-63CB-4951-9844-8A54BD143E99}" type="presOf" srcId="{DC97FE2B-A5F4-4188-B808-96898EA41E85}" destId="{FE9FBB16-820E-4B60-82EE-C7017125CB2C}" srcOrd="0" destOrd="0" presId="urn:microsoft.com/office/officeart/2005/8/layout/hierarchy2"/>
    <dgm:cxn modelId="{164DD9E6-2114-4BE3-B699-19FF3B655B12}" srcId="{0E6A115F-8061-49AF-B19D-0F1D5C2ACCB5}" destId="{D030D83C-D091-44A9-8DEE-920CB5B53B61}" srcOrd="0" destOrd="0" parTransId="{8CF2D23A-0C88-4FC4-BC61-649277F921BD}" sibTransId="{311CBC06-E2FD-4379-8627-C267BEF5E009}"/>
    <dgm:cxn modelId="{0593DDB2-9E9F-4F68-A741-1E38B87F7746}" srcId="{D030D83C-D091-44A9-8DEE-920CB5B53B61}" destId="{AC6918BC-7E96-4D63-8D74-3284757062BE}" srcOrd="0" destOrd="0" parTransId="{DC97FE2B-A5F4-4188-B808-96898EA41E85}" sibTransId="{720DD1A7-2EF0-43D7-B3AC-F518D00D75C7}"/>
    <dgm:cxn modelId="{408C65A8-D6F7-4B32-9BFB-92E2748A138D}" type="presOf" srcId="{AC6918BC-7E96-4D63-8D74-3284757062BE}" destId="{483B4DB7-2808-42B8-AEFA-065DA9264BE4}" srcOrd="0" destOrd="0" presId="urn:microsoft.com/office/officeart/2005/8/layout/hierarchy2"/>
    <dgm:cxn modelId="{B71C65BA-57D8-4950-801B-9391BCE1297E}" type="presOf" srcId="{0E6A115F-8061-49AF-B19D-0F1D5C2ACCB5}" destId="{FAF04637-6B5C-4502-A59A-0DD246780902}" srcOrd="0" destOrd="0" presId="urn:microsoft.com/office/officeart/2005/8/layout/hierarchy2"/>
    <dgm:cxn modelId="{4772A757-8E47-44B1-99AE-274F3D169411}" type="presOf" srcId="{D030D83C-D091-44A9-8DEE-920CB5B53B61}" destId="{C5924AFA-0699-4755-A732-E73E9D289AEF}" srcOrd="0" destOrd="0" presId="urn:microsoft.com/office/officeart/2005/8/layout/hierarchy2"/>
    <dgm:cxn modelId="{E0D9FEC3-C480-4E83-82D7-1005F56756CB}" type="presOf" srcId="{DC97FE2B-A5F4-4188-B808-96898EA41E85}" destId="{9EDB0DE1-B7E1-409B-B04C-4C4F4E590B4C}" srcOrd="1" destOrd="0" presId="urn:microsoft.com/office/officeart/2005/8/layout/hierarchy2"/>
    <dgm:cxn modelId="{07F2BFB1-04A5-4331-9ACB-B10828C97D12}" type="presParOf" srcId="{FAF04637-6B5C-4502-A59A-0DD246780902}" destId="{4391647A-A486-4573-9011-7EDA14A4CCF7}" srcOrd="0" destOrd="0" presId="urn:microsoft.com/office/officeart/2005/8/layout/hierarchy2"/>
    <dgm:cxn modelId="{A4F951E2-D74E-4C1C-A922-3BCBED3EE7CC}" type="presParOf" srcId="{4391647A-A486-4573-9011-7EDA14A4CCF7}" destId="{C5924AFA-0699-4755-A732-E73E9D289AEF}" srcOrd="0" destOrd="0" presId="urn:microsoft.com/office/officeart/2005/8/layout/hierarchy2"/>
    <dgm:cxn modelId="{CFDC63C8-FA97-413E-A612-80181675CEFD}" type="presParOf" srcId="{4391647A-A486-4573-9011-7EDA14A4CCF7}" destId="{19076173-7B27-409B-A973-8883250E0696}" srcOrd="1" destOrd="0" presId="urn:microsoft.com/office/officeart/2005/8/layout/hierarchy2"/>
    <dgm:cxn modelId="{6A6A7507-60D0-4A88-BE15-B4C694903A52}" type="presParOf" srcId="{19076173-7B27-409B-A973-8883250E0696}" destId="{FE9FBB16-820E-4B60-82EE-C7017125CB2C}" srcOrd="0" destOrd="0" presId="urn:microsoft.com/office/officeart/2005/8/layout/hierarchy2"/>
    <dgm:cxn modelId="{B0555816-76C6-4AE9-8883-4F219FF5F76F}" type="presParOf" srcId="{FE9FBB16-820E-4B60-82EE-C7017125CB2C}" destId="{9EDB0DE1-B7E1-409B-B04C-4C4F4E590B4C}" srcOrd="0" destOrd="0" presId="urn:microsoft.com/office/officeart/2005/8/layout/hierarchy2"/>
    <dgm:cxn modelId="{88532E99-1607-49DD-B3C5-47EC183BCF1A}" type="presParOf" srcId="{19076173-7B27-409B-A973-8883250E0696}" destId="{2B2402F3-DEC5-4D8C-AC56-C99F35F9F4B5}" srcOrd="1" destOrd="0" presId="urn:microsoft.com/office/officeart/2005/8/layout/hierarchy2"/>
    <dgm:cxn modelId="{9C7D9A58-27EA-4DB0-BD4A-DAE83C8327B8}" type="presParOf" srcId="{2B2402F3-DEC5-4D8C-AC56-C99F35F9F4B5}" destId="{483B4DB7-2808-42B8-AEFA-065DA9264BE4}" srcOrd="0" destOrd="0" presId="urn:microsoft.com/office/officeart/2005/8/layout/hierarchy2"/>
    <dgm:cxn modelId="{DF4D58EF-1221-481E-BEC3-A3533FD90231}" type="presParOf" srcId="{2B2402F3-DEC5-4D8C-AC56-C99F35F9F4B5}" destId="{11FFA301-819C-4FAD-9154-A59E0CA0568D}" srcOrd="1" destOrd="0" presId="urn:microsoft.com/office/officeart/2005/8/layout/hierarchy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E77A535-8307-4200-BC66-B776016927F4}"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de-DE"/>
        </a:p>
      </dgm:t>
    </dgm:pt>
    <dgm:pt modelId="{13E4CDA3-F79B-4EAC-9CE7-347B9B8A73A8}">
      <dgm:prSet phldrT="[Text]"/>
      <dgm:spPr/>
      <dgm:t>
        <a:bodyPr/>
        <a:lstStyle/>
        <a:p>
          <a:r>
            <a:rPr lang="de-DE" dirty="0" smtClean="0">
              <a:solidFill>
                <a:srgbClr val="572381"/>
              </a:solidFill>
              <a:latin typeface="Calibri" panose="020F0502020204030204" pitchFamily="34" charset="0"/>
              <a:cs typeface="Calibri" panose="020F0502020204030204" pitchFamily="34" charset="0"/>
            </a:rPr>
            <a:t>Keine</a:t>
          </a:r>
          <a:r>
            <a:rPr lang="de-DE" b="0" dirty="0" smtClean="0">
              <a:ln>
                <a:solidFill>
                  <a:srgbClr val="572381"/>
                </a:solidFill>
              </a:ln>
              <a:solidFill>
                <a:srgbClr val="572381"/>
              </a:solidFill>
              <a:latin typeface="Calibri" panose="020F0502020204030204" pitchFamily="34" charset="0"/>
              <a:cs typeface="Calibri" panose="020F0502020204030204" pitchFamily="34" charset="0"/>
            </a:rPr>
            <a:t> </a:t>
          </a:r>
          <a:r>
            <a:rPr lang="de-DE" dirty="0" smtClean="0">
              <a:solidFill>
                <a:srgbClr val="572381"/>
              </a:solidFill>
              <a:latin typeface="Calibri" panose="020F0502020204030204" pitchFamily="34" charset="0"/>
              <a:cs typeface="Calibri" panose="020F0502020204030204" pitchFamily="34" charset="0"/>
            </a:rPr>
            <a:t>Rechnung</a:t>
          </a:r>
          <a:endParaRPr lang="de-DE" dirty="0">
            <a:solidFill>
              <a:srgbClr val="572381"/>
            </a:solidFill>
            <a:latin typeface="Calibri" panose="020F0502020204030204" pitchFamily="34" charset="0"/>
            <a:cs typeface="Calibri" panose="020F0502020204030204" pitchFamily="34" charset="0"/>
          </a:endParaRPr>
        </a:p>
      </dgm:t>
    </dgm:pt>
    <dgm:pt modelId="{9F34AF25-55B2-494B-A2BD-A113B9CC2E55}" type="parTrans" cxnId="{8F23BC7E-48AD-46D9-9196-7299EF0C4186}">
      <dgm:prSet/>
      <dgm:spPr/>
      <dgm:t>
        <a:bodyPr/>
        <a:lstStyle/>
        <a:p>
          <a:endParaRPr lang="de-DE"/>
        </a:p>
      </dgm:t>
    </dgm:pt>
    <dgm:pt modelId="{3F565537-7416-4131-B079-030E52AD4C4E}" type="sibTrans" cxnId="{8F23BC7E-48AD-46D9-9196-7299EF0C4186}">
      <dgm:prSet/>
      <dgm:spPr/>
      <dgm:t>
        <a:bodyPr/>
        <a:lstStyle/>
        <a:p>
          <a:endParaRPr lang="de-DE"/>
        </a:p>
      </dgm:t>
    </dgm:pt>
    <dgm:pt modelId="{528E7914-37E8-40E8-A1C5-3F2CC4CAE463}">
      <dgm:prSet phldrT="[Text]"/>
      <dgm:spPr/>
      <dgm:t>
        <a:bodyPr/>
        <a:lstStyle/>
        <a:p>
          <a:r>
            <a:rPr lang="de-DE" dirty="0" smtClean="0">
              <a:solidFill>
                <a:srgbClr val="572381"/>
              </a:solidFill>
              <a:latin typeface="Calibri" panose="020F0502020204030204" pitchFamily="34" charset="0"/>
              <a:cs typeface="Calibri" panose="020F0502020204030204" pitchFamily="34" charset="0"/>
            </a:rPr>
            <a:t>Kleinunternehmer</a:t>
          </a:r>
          <a:endParaRPr lang="de-DE" dirty="0">
            <a:solidFill>
              <a:srgbClr val="572381"/>
            </a:solidFill>
            <a:latin typeface="Calibri" panose="020F0502020204030204" pitchFamily="34" charset="0"/>
            <a:cs typeface="Calibri" panose="020F0502020204030204" pitchFamily="34" charset="0"/>
          </a:endParaRPr>
        </a:p>
      </dgm:t>
    </dgm:pt>
    <dgm:pt modelId="{8D38FE5F-7A07-4CA2-8D96-EB0DCC245A47}" type="parTrans" cxnId="{DDD6A20E-C616-4F0E-981F-5E4C06E6CA99}">
      <dgm:prSet/>
      <dgm:spPr/>
      <dgm:t>
        <a:bodyPr/>
        <a:lstStyle/>
        <a:p>
          <a:endParaRPr lang="de-DE"/>
        </a:p>
      </dgm:t>
    </dgm:pt>
    <dgm:pt modelId="{347A3105-16DA-4334-A43C-67CFA67894F1}" type="sibTrans" cxnId="{DDD6A20E-C616-4F0E-981F-5E4C06E6CA99}">
      <dgm:prSet/>
      <dgm:spPr>
        <a:noFill/>
        <a:ln>
          <a:noFill/>
        </a:ln>
      </dgm:spPr>
      <dgm:t>
        <a:bodyPr/>
        <a:lstStyle/>
        <a:p>
          <a:endParaRPr lang="de-DE"/>
        </a:p>
      </dgm:t>
    </dgm:pt>
    <dgm:pt modelId="{2C2DB5B5-6F12-4743-A947-1A025842890E}">
      <dgm:prSet phldrT="[Text]"/>
      <dgm:spPr/>
      <dgm:t>
        <a:bodyPr/>
        <a:lstStyle/>
        <a:p>
          <a:r>
            <a:rPr lang="de-DE" dirty="0" smtClean="0">
              <a:solidFill>
                <a:srgbClr val="572381"/>
              </a:solidFill>
              <a:latin typeface="Calibri" panose="020F0502020204030204" pitchFamily="34" charset="0"/>
              <a:cs typeface="Calibri" panose="020F0502020204030204" pitchFamily="34" charset="0"/>
            </a:rPr>
            <a:t>Ausschlussumsätze</a:t>
          </a:r>
          <a:endParaRPr lang="de-DE" dirty="0">
            <a:solidFill>
              <a:srgbClr val="572381"/>
            </a:solidFill>
            <a:latin typeface="Calibri" panose="020F0502020204030204" pitchFamily="34" charset="0"/>
            <a:cs typeface="Calibri" panose="020F0502020204030204" pitchFamily="34" charset="0"/>
          </a:endParaRPr>
        </a:p>
      </dgm:t>
    </dgm:pt>
    <dgm:pt modelId="{0BEB6B47-A992-4AF0-AEC7-24DDE4BC9841}" type="parTrans" cxnId="{3D5DF401-FB81-4240-B184-FE5D4E7951FD}">
      <dgm:prSet/>
      <dgm:spPr/>
      <dgm:t>
        <a:bodyPr/>
        <a:lstStyle/>
        <a:p>
          <a:endParaRPr lang="de-DE"/>
        </a:p>
      </dgm:t>
    </dgm:pt>
    <dgm:pt modelId="{D5D9DC4A-DF69-4AE7-8075-4ED6D036A174}" type="sibTrans" cxnId="{3D5DF401-FB81-4240-B184-FE5D4E7951FD}">
      <dgm:prSet/>
      <dgm:spPr>
        <a:noFill/>
        <a:ln>
          <a:noFill/>
        </a:ln>
      </dgm:spPr>
      <dgm:t>
        <a:bodyPr/>
        <a:lstStyle/>
        <a:p>
          <a:endParaRPr lang="de-DE"/>
        </a:p>
      </dgm:t>
    </dgm:pt>
    <dgm:pt modelId="{08585024-8A58-4B5C-9028-D1E2A0D452F2}">
      <dgm:prSet phldrT="[Text]"/>
      <dgm:spPr/>
      <dgm:t>
        <a:bodyPr/>
        <a:lstStyle/>
        <a:p>
          <a:r>
            <a:rPr lang="de-DE" b="1" dirty="0" smtClean="0">
              <a:solidFill>
                <a:srgbClr val="572381"/>
              </a:solidFill>
              <a:latin typeface="Calibri" panose="020F0502020204030204" pitchFamily="34" charset="0"/>
              <a:cs typeface="Calibri" panose="020F0502020204030204" pitchFamily="34" charset="0"/>
            </a:rPr>
            <a:t>Kein Vorsteuerabzug</a:t>
          </a:r>
          <a:endParaRPr lang="de-DE" b="1" dirty="0">
            <a:solidFill>
              <a:srgbClr val="572381"/>
            </a:solidFill>
            <a:latin typeface="Calibri" panose="020F0502020204030204" pitchFamily="34" charset="0"/>
            <a:cs typeface="Calibri" panose="020F0502020204030204" pitchFamily="34" charset="0"/>
          </a:endParaRPr>
        </a:p>
      </dgm:t>
    </dgm:pt>
    <dgm:pt modelId="{8C6E49DC-0E92-449A-9C65-45B722C8686E}" type="parTrans" cxnId="{76414C1B-7105-4E5C-B0CA-F3B9D3F35390}">
      <dgm:prSet/>
      <dgm:spPr/>
      <dgm:t>
        <a:bodyPr/>
        <a:lstStyle/>
        <a:p>
          <a:endParaRPr lang="de-DE"/>
        </a:p>
      </dgm:t>
    </dgm:pt>
    <dgm:pt modelId="{9A3E7012-3158-4D1C-81F3-AE52FFB33D55}" type="sibTrans" cxnId="{76414C1B-7105-4E5C-B0CA-F3B9D3F35390}">
      <dgm:prSet/>
      <dgm:spPr/>
      <dgm:t>
        <a:bodyPr/>
        <a:lstStyle/>
        <a:p>
          <a:endParaRPr lang="de-DE"/>
        </a:p>
      </dgm:t>
    </dgm:pt>
    <dgm:pt modelId="{3875AFE4-9C8E-47BD-922E-0E66E02BAF8C}" type="pres">
      <dgm:prSet presAssocID="{0E77A535-8307-4200-BC66-B776016927F4}" presName="Name0" presStyleCnt="0">
        <dgm:presLayoutVars>
          <dgm:chMax val="7"/>
          <dgm:chPref val="5"/>
        </dgm:presLayoutVars>
      </dgm:prSet>
      <dgm:spPr/>
      <dgm:t>
        <a:bodyPr/>
        <a:lstStyle/>
        <a:p>
          <a:endParaRPr lang="de-DE"/>
        </a:p>
      </dgm:t>
    </dgm:pt>
    <dgm:pt modelId="{EC6159D9-A7D0-4095-AFE5-9F2D1EFD1B1D}" type="pres">
      <dgm:prSet presAssocID="{0E77A535-8307-4200-BC66-B776016927F4}" presName="arrowNode" presStyleLbl="node1" presStyleIdx="0" presStyleCnt="1"/>
      <dgm:spPr>
        <a:gradFill flip="none" rotWithShape="0">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dgm:spPr>
    </dgm:pt>
    <dgm:pt modelId="{8A30A051-EEDA-4F99-9AD3-38500384A58A}" type="pres">
      <dgm:prSet presAssocID="{13E4CDA3-F79B-4EAC-9CE7-347B9B8A73A8}" presName="txNode1" presStyleLbl="revTx" presStyleIdx="0" presStyleCnt="4">
        <dgm:presLayoutVars>
          <dgm:bulletEnabled val="1"/>
        </dgm:presLayoutVars>
      </dgm:prSet>
      <dgm:spPr/>
      <dgm:t>
        <a:bodyPr/>
        <a:lstStyle/>
        <a:p>
          <a:endParaRPr lang="de-DE"/>
        </a:p>
      </dgm:t>
    </dgm:pt>
    <dgm:pt modelId="{69A6D16F-D651-4FCC-B062-A946B1470AAA}" type="pres">
      <dgm:prSet presAssocID="{528E7914-37E8-40E8-A1C5-3F2CC4CAE463}" presName="txNode2" presStyleLbl="revTx" presStyleIdx="1" presStyleCnt="4">
        <dgm:presLayoutVars>
          <dgm:bulletEnabled val="1"/>
        </dgm:presLayoutVars>
      </dgm:prSet>
      <dgm:spPr/>
      <dgm:t>
        <a:bodyPr/>
        <a:lstStyle/>
        <a:p>
          <a:endParaRPr lang="de-DE"/>
        </a:p>
      </dgm:t>
    </dgm:pt>
    <dgm:pt modelId="{023B3C7A-5E61-4AD7-B173-B3ED4B066383}" type="pres">
      <dgm:prSet presAssocID="{347A3105-16DA-4334-A43C-67CFA67894F1}" presName="dotNode2" presStyleCnt="0"/>
      <dgm:spPr/>
    </dgm:pt>
    <dgm:pt modelId="{E19EA87C-A56A-492E-8580-2061120B9BC1}" type="pres">
      <dgm:prSet presAssocID="{347A3105-16DA-4334-A43C-67CFA67894F1}" presName="dotRepeatNode" presStyleLbl="fgShp" presStyleIdx="0" presStyleCnt="2"/>
      <dgm:spPr/>
      <dgm:t>
        <a:bodyPr/>
        <a:lstStyle/>
        <a:p>
          <a:endParaRPr lang="de-DE"/>
        </a:p>
      </dgm:t>
    </dgm:pt>
    <dgm:pt modelId="{3AEDCF55-9C93-48B0-9C50-2D9529FBF80F}" type="pres">
      <dgm:prSet presAssocID="{2C2DB5B5-6F12-4743-A947-1A025842890E}" presName="txNode3" presStyleLbl="revTx" presStyleIdx="2" presStyleCnt="4">
        <dgm:presLayoutVars>
          <dgm:bulletEnabled val="1"/>
        </dgm:presLayoutVars>
      </dgm:prSet>
      <dgm:spPr/>
      <dgm:t>
        <a:bodyPr/>
        <a:lstStyle/>
        <a:p>
          <a:endParaRPr lang="de-DE"/>
        </a:p>
      </dgm:t>
    </dgm:pt>
    <dgm:pt modelId="{67D9427F-2EB6-4B4D-A341-A2FA82ABA012}" type="pres">
      <dgm:prSet presAssocID="{D5D9DC4A-DF69-4AE7-8075-4ED6D036A174}" presName="dotNode3" presStyleCnt="0"/>
      <dgm:spPr/>
    </dgm:pt>
    <dgm:pt modelId="{670B530A-0139-46E1-A39A-FDDB82C25C0A}" type="pres">
      <dgm:prSet presAssocID="{D5D9DC4A-DF69-4AE7-8075-4ED6D036A174}" presName="dotRepeatNode" presStyleLbl="fgShp" presStyleIdx="1" presStyleCnt="2"/>
      <dgm:spPr/>
      <dgm:t>
        <a:bodyPr/>
        <a:lstStyle/>
        <a:p>
          <a:endParaRPr lang="de-DE"/>
        </a:p>
      </dgm:t>
    </dgm:pt>
    <dgm:pt modelId="{BF2C6020-F46A-4EB6-ACE0-414A3A5F32A3}" type="pres">
      <dgm:prSet presAssocID="{08585024-8A58-4B5C-9028-D1E2A0D452F2}" presName="txNode4" presStyleLbl="revTx" presStyleIdx="3" presStyleCnt="4">
        <dgm:presLayoutVars>
          <dgm:bulletEnabled val="1"/>
        </dgm:presLayoutVars>
      </dgm:prSet>
      <dgm:spPr/>
      <dgm:t>
        <a:bodyPr/>
        <a:lstStyle/>
        <a:p>
          <a:endParaRPr lang="de-DE"/>
        </a:p>
      </dgm:t>
    </dgm:pt>
  </dgm:ptLst>
  <dgm:cxnLst>
    <dgm:cxn modelId="{594AEEFD-2728-486D-8560-3B36F0160613}" type="presOf" srcId="{2C2DB5B5-6F12-4743-A947-1A025842890E}" destId="{3AEDCF55-9C93-48B0-9C50-2D9529FBF80F}" srcOrd="0" destOrd="0" presId="urn:microsoft.com/office/officeart/2009/3/layout/DescendingProcess"/>
    <dgm:cxn modelId="{19E755B8-D9C5-4971-B219-7AE802C15067}" type="presOf" srcId="{08585024-8A58-4B5C-9028-D1E2A0D452F2}" destId="{BF2C6020-F46A-4EB6-ACE0-414A3A5F32A3}" srcOrd="0" destOrd="0" presId="urn:microsoft.com/office/officeart/2009/3/layout/DescendingProcess"/>
    <dgm:cxn modelId="{76414C1B-7105-4E5C-B0CA-F3B9D3F35390}" srcId="{0E77A535-8307-4200-BC66-B776016927F4}" destId="{08585024-8A58-4B5C-9028-D1E2A0D452F2}" srcOrd="3" destOrd="0" parTransId="{8C6E49DC-0E92-449A-9C65-45B722C8686E}" sibTransId="{9A3E7012-3158-4D1C-81F3-AE52FFB33D55}"/>
    <dgm:cxn modelId="{B71567B5-C18B-440E-9C4D-32B2C325C71D}" type="presOf" srcId="{0E77A535-8307-4200-BC66-B776016927F4}" destId="{3875AFE4-9C8E-47BD-922E-0E66E02BAF8C}" srcOrd="0" destOrd="0" presId="urn:microsoft.com/office/officeart/2009/3/layout/DescendingProcess"/>
    <dgm:cxn modelId="{953C4E09-6BBF-4139-8360-4EC9A0852768}" type="presOf" srcId="{D5D9DC4A-DF69-4AE7-8075-4ED6D036A174}" destId="{670B530A-0139-46E1-A39A-FDDB82C25C0A}" srcOrd="0" destOrd="0" presId="urn:microsoft.com/office/officeart/2009/3/layout/DescendingProcess"/>
    <dgm:cxn modelId="{57AB4786-44F7-4A9B-800F-F43F51681C5F}" type="presOf" srcId="{347A3105-16DA-4334-A43C-67CFA67894F1}" destId="{E19EA87C-A56A-492E-8580-2061120B9BC1}" srcOrd="0" destOrd="0" presId="urn:microsoft.com/office/officeart/2009/3/layout/DescendingProcess"/>
    <dgm:cxn modelId="{DDD6A20E-C616-4F0E-981F-5E4C06E6CA99}" srcId="{0E77A535-8307-4200-BC66-B776016927F4}" destId="{528E7914-37E8-40E8-A1C5-3F2CC4CAE463}" srcOrd="1" destOrd="0" parTransId="{8D38FE5F-7A07-4CA2-8D96-EB0DCC245A47}" sibTransId="{347A3105-16DA-4334-A43C-67CFA67894F1}"/>
    <dgm:cxn modelId="{441D3860-1EEA-4096-9EF7-42511DC18B81}" type="presOf" srcId="{13E4CDA3-F79B-4EAC-9CE7-347B9B8A73A8}" destId="{8A30A051-EEDA-4F99-9AD3-38500384A58A}" srcOrd="0" destOrd="0" presId="urn:microsoft.com/office/officeart/2009/3/layout/DescendingProcess"/>
    <dgm:cxn modelId="{3C3E04E5-322B-435A-BDE2-B7D984F64A2F}" type="presOf" srcId="{528E7914-37E8-40E8-A1C5-3F2CC4CAE463}" destId="{69A6D16F-D651-4FCC-B062-A946B1470AAA}" srcOrd="0" destOrd="0" presId="urn:microsoft.com/office/officeart/2009/3/layout/DescendingProcess"/>
    <dgm:cxn modelId="{8F23BC7E-48AD-46D9-9196-7299EF0C4186}" srcId="{0E77A535-8307-4200-BC66-B776016927F4}" destId="{13E4CDA3-F79B-4EAC-9CE7-347B9B8A73A8}" srcOrd="0" destOrd="0" parTransId="{9F34AF25-55B2-494B-A2BD-A113B9CC2E55}" sibTransId="{3F565537-7416-4131-B079-030E52AD4C4E}"/>
    <dgm:cxn modelId="{3D5DF401-FB81-4240-B184-FE5D4E7951FD}" srcId="{0E77A535-8307-4200-BC66-B776016927F4}" destId="{2C2DB5B5-6F12-4743-A947-1A025842890E}" srcOrd="2" destOrd="0" parTransId="{0BEB6B47-A992-4AF0-AEC7-24DDE4BC9841}" sibTransId="{D5D9DC4A-DF69-4AE7-8075-4ED6D036A174}"/>
    <dgm:cxn modelId="{3072F996-7B25-44D4-A836-C944634EE9CF}" type="presParOf" srcId="{3875AFE4-9C8E-47BD-922E-0E66E02BAF8C}" destId="{EC6159D9-A7D0-4095-AFE5-9F2D1EFD1B1D}" srcOrd="0" destOrd="0" presId="urn:microsoft.com/office/officeart/2009/3/layout/DescendingProcess"/>
    <dgm:cxn modelId="{E529B4CB-A208-45AC-9570-F950CDE9E1D8}" type="presParOf" srcId="{3875AFE4-9C8E-47BD-922E-0E66E02BAF8C}" destId="{8A30A051-EEDA-4F99-9AD3-38500384A58A}" srcOrd="1" destOrd="0" presId="urn:microsoft.com/office/officeart/2009/3/layout/DescendingProcess"/>
    <dgm:cxn modelId="{4D37C8B9-59F5-4899-ABBC-0038337E6EEE}" type="presParOf" srcId="{3875AFE4-9C8E-47BD-922E-0E66E02BAF8C}" destId="{69A6D16F-D651-4FCC-B062-A946B1470AAA}" srcOrd="2" destOrd="0" presId="urn:microsoft.com/office/officeart/2009/3/layout/DescendingProcess"/>
    <dgm:cxn modelId="{EC24EC6F-09C0-42DD-A287-4E958BA4B821}" type="presParOf" srcId="{3875AFE4-9C8E-47BD-922E-0E66E02BAF8C}" destId="{023B3C7A-5E61-4AD7-B173-B3ED4B066383}" srcOrd="3" destOrd="0" presId="urn:microsoft.com/office/officeart/2009/3/layout/DescendingProcess"/>
    <dgm:cxn modelId="{B966CF27-447F-4AD1-99AD-7CE13ED1EEC2}" type="presParOf" srcId="{023B3C7A-5E61-4AD7-B173-B3ED4B066383}" destId="{E19EA87C-A56A-492E-8580-2061120B9BC1}" srcOrd="0" destOrd="0" presId="urn:microsoft.com/office/officeart/2009/3/layout/DescendingProcess"/>
    <dgm:cxn modelId="{96E24AB9-F3DA-4A97-BC63-73DD238A6ABC}" type="presParOf" srcId="{3875AFE4-9C8E-47BD-922E-0E66E02BAF8C}" destId="{3AEDCF55-9C93-48B0-9C50-2D9529FBF80F}" srcOrd="4" destOrd="0" presId="urn:microsoft.com/office/officeart/2009/3/layout/DescendingProcess"/>
    <dgm:cxn modelId="{0EDD2989-9F3D-469A-BE2A-81CF13048F91}" type="presParOf" srcId="{3875AFE4-9C8E-47BD-922E-0E66E02BAF8C}" destId="{67D9427F-2EB6-4B4D-A341-A2FA82ABA012}" srcOrd="5" destOrd="0" presId="urn:microsoft.com/office/officeart/2009/3/layout/DescendingProcess"/>
    <dgm:cxn modelId="{4A80AA03-94C9-49DF-A5D7-33431C024458}" type="presParOf" srcId="{67D9427F-2EB6-4B4D-A341-A2FA82ABA012}" destId="{670B530A-0139-46E1-A39A-FDDB82C25C0A}" srcOrd="0" destOrd="0" presId="urn:microsoft.com/office/officeart/2009/3/layout/DescendingProcess"/>
    <dgm:cxn modelId="{0BB04AC0-43A1-4EE1-A304-721EE10A6CDE}" type="presParOf" srcId="{3875AFE4-9C8E-47BD-922E-0E66E02BAF8C}" destId="{BF2C6020-F46A-4EB6-ACE0-414A3A5F32A3}" srcOrd="6" destOrd="0" presId="urn:microsoft.com/office/officeart/2009/3/layout/Descending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8.w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t" anchorCtr="0" compatLnSpc="1">
            <a:prstTxWarp prst="textNoShape">
              <a:avLst/>
            </a:prstTxWarp>
          </a:bodyPr>
          <a:lstStyle>
            <a:lvl1pPr>
              <a:defRPr sz="1200" smtClean="0"/>
            </a:lvl1pPr>
          </a:lstStyle>
          <a:p>
            <a:pPr>
              <a:defRPr/>
            </a:pPr>
            <a:endParaRPr lang="de-DE" altLang="en-US" dirty="0">
              <a:latin typeface="Arial Unicode MS" panose="020B0604020202020204" pitchFamily="34" charset="-128"/>
            </a:endParaRPr>
          </a:p>
        </p:txBody>
      </p:sp>
      <p:sp>
        <p:nvSpPr>
          <p:cNvPr id="6147" name="Rectangle 3"/>
          <p:cNvSpPr>
            <a:spLocks noGrp="1" noChangeArrowheads="1"/>
          </p:cNvSpPr>
          <p:nvPr>
            <p:ph type="dt" sz="quarter" idx="1"/>
          </p:nvPr>
        </p:nvSpPr>
        <p:spPr bwMode="auto">
          <a:xfrm>
            <a:off x="3861913" y="2"/>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t" anchorCtr="0" compatLnSpc="1">
            <a:prstTxWarp prst="textNoShape">
              <a:avLst/>
            </a:prstTxWarp>
          </a:bodyPr>
          <a:lstStyle>
            <a:lvl1pPr algn="r">
              <a:defRPr sz="1200" smtClean="0"/>
            </a:lvl1pPr>
          </a:lstStyle>
          <a:p>
            <a:pPr>
              <a:defRPr/>
            </a:pPr>
            <a:endParaRPr lang="de-DE" altLang="en-US" dirty="0">
              <a:latin typeface="Arial Unicode MS" panose="020B0604020202020204" pitchFamily="34" charset="-128"/>
            </a:endParaRPr>
          </a:p>
        </p:txBody>
      </p:sp>
      <p:sp>
        <p:nvSpPr>
          <p:cNvPr id="6148" name="Rectangle 4"/>
          <p:cNvSpPr>
            <a:spLocks noGrp="1" noChangeArrowheads="1"/>
          </p:cNvSpPr>
          <p:nvPr>
            <p:ph type="ftr" sz="quarter" idx="2"/>
          </p:nvPr>
        </p:nvSpPr>
        <p:spPr bwMode="auto">
          <a:xfrm>
            <a:off x="1" y="9449913"/>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b" anchorCtr="0" compatLnSpc="1">
            <a:prstTxWarp prst="textNoShape">
              <a:avLst/>
            </a:prstTxWarp>
          </a:bodyPr>
          <a:lstStyle>
            <a:lvl1pPr>
              <a:defRPr sz="1200" smtClean="0"/>
            </a:lvl1pPr>
          </a:lstStyle>
          <a:p>
            <a:pPr>
              <a:defRPr/>
            </a:pPr>
            <a:endParaRPr lang="de-DE" altLang="en-US" dirty="0">
              <a:latin typeface="Arial Unicode MS" panose="020B0604020202020204" pitchFamily="34" charset="-128"/>
            </a:endParaRPr>
          </a:p>
        </p:txBody>
      </p:sp>
      <p:sp>
        <p:nvSpPr>
          <p:cNvPr id="6149" name="Rectangle 5"/>
          <p:cNvSpPr>
            <a:spLocks noGrp="1" noChangeArrowheads="1"/>
          </p:cNvSpPr>
          <p:nvPr>
            <p:ph type="sldNum" sz="quarter" idx="3"/>
          </p:nvPr>
        </p:nvSpPr>
        <p:spPr bwMode="auto">
          <a:xfrm>
            <a:off x="3861913" y="9449913"/>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b" anchorCtr="0" compatLnSpc="1">
            <a:prstTxWarp prst="textNoShape">
              <a:avLst/>
            </a:prstTxWarp>
          </a:bodyPr>
          <a:lstStyle>
            <a:lvl1pPr algn="r">
              <a:defRPr sz="1200" smtClean="0"/>
            </a:lvl1pPr>
          </a:lstStyle>
          <a:p>
            <a:pPr>
              <a:defRPr/>
            </a:pPr>
            <a:fld id="{D6E6700E-5F54-4ADB-A27A-FC88E3BE94BA}" type="slidenum">
              <a:rPr lang="de-DE" altLang="en-US">
                <a:latin typeface="Arial Unicode MS" panose="020B0604020202020204" pitchFamily="34" charset="-128"/>
              </a:rPr>
              <a:pPr>
                <a:defRPr/>
              </a:pPr>
              <a:t>‹Nr.›</a:t>
            </a:fld>
            <a:endParaRPr lang="de-DE" altLang="en-US" dirty="0">
              <a:latin typeface="Arial Unicode MS" panose="020B0604020202020204" pitchFamily="34" charset="-128"/>
            </a:endParaRPr>
          </a:p>
        </p:txBody>
      </p:sp>
    </p:spTree>
    <p:extLst>
      <p:ext uri="{BB962C8B-B14F-4D97-AF65-F5344CB8AC3E}">
        <p14:creationId xmlns:p14="http://schemas.microsoft.com/office/powerpoint/2010/main" val="10019832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2"/>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t" anchorCtr="0" compatLnSpc="1">
            <a:prstTxWarp prst="textNoShape">
              <a:avLst/>
            </a:prstTxWarp>
          </a:bodyPr>
          <a:lstStyle>
            <a:lvl1pPr>
              <a:defRPr sz="1200" smtClean="0">
                <a:latin typeface="Arial Unicode MS" panose="020B0604020202020204" pitchFamily="34" charset="-128"/>
              </a:defRPr>
            </a:lvl1pPr>
          </a:lstStyle>
          <a:p>
            <a:pPr>
              <a:defRPr/>
            </a:pPr>
            <a:endParaRPr lang="de-DE" altLang="en-US" dirty="0"/>
          </a:p>
        </p:txBody>
      </p:sp>
      <p:sp>
        <p:nvSpPr>
          <p:cNvPr id="8195" name="Rectangle 3"/>
          <p:cNvSpPr>
            <a:spLocks noGrp="1" noChangeArrowheads="1"/>
          </p:cNvSpPr>
          <p:nvPr>
            <p:ph type="dt" idx="1"/>
          </p:nvPr>
        </p:nvSpPr>
        <p:spPr bwMode="auto">
          <a:xfrm>
            <a:off x="3861913" y="2"/>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t" anchorCtr="0" compatLnSpc="1">
            <a:prstTxWarp prst="textNoShape">
              <a:avLst/>
            </a:prstTxWarp>
          </a:bodyPr>
          <a:lstStyle>
            <a:lvl1pPr algn="r">
              <a:defRPr sz="1200" smtClean="0">
                <a:latin typeface="Arial Unicode MS" panose="020B0604020202020204" pitchFamily="34" charset="-128"/>
              </a:defRPr>
            </a:lvl1pPr>
          </a:lstStyle>
          <a:p>
            <a:pPr>
              <a:defRPr/>
            </a:pPr>
            <a:endParaRPr lang="de-DE" altLang="en-US" dirty="0"/>
          </a:p>
        </p:txBody>
      </p:sp>
      <p:sp>
        <p:nvSpPr>
          <p:cNvPr id="22532" name="Rectangle 4"/>
          <p:cNvSpPr>
            <a:spLocks noGrp="1" noRot="1" noChangeAspect="1" noChangeArrowheads="1" noTextEdit="1"/>
          </p:cNvSpPr>
          <p:nvPr>
            <p:ph type="sldImg" idx="2"/>
          </p:nvPr>
        </p:nvSpPr>
        <p:spPr bwMode="auto">
          <a:xfrm>
            <a:off x="82550" y="746125"/>
            <a:ext cx="6650038" cy="37306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908685" y="4724957"/>
            <a:ext cx="5073492" cy="4476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t" anchorCtr="0" compatLnSpc="1">
            <a:prstTxWarp prst="textNoShape">
              <a:avLst/>
            </a:prstTxWarp>
          </a:bodyPr>
          <a:lstStyle/>
          <a:p>
            <a:pPr lvl="0"/>
            <a:r>
              <a:rPr lang="de-DE" altLang="en-US" noProof="0" dirty="0" smtClean="0"/>
              <a:t>Klicken Sie, um die Textformatierung des Masters zu bearbeiten.</a:t>
            </a:r>
          </a:p>
          <a:p>
            <a:pPr lvl="1"/>
            <a:r>
              <a:rPr lang="de-DE" altLang="en-US" noProof="0" dirty="0" smtClean="0"/>
              <a:t>Zweite Ebene</a:t>
            </a:r>
          </a:p>
          <a:p>
            <a:pPr lvl="2"/>
            <a:r>
              <a:rPr lang="de-DE" altLang="en-US" noProof="0" dirty="0" smtClean="0"/>
              <a:t>Dritte Ebene</a:t>
            </a:r>
          </a:p>
          <a:p>
            <a:pPr lvl="3"/>
            <a:r>
              <a:rPr lang="de-DE" altLang="en-US" noProof="0" dirty="0" smtClean="0"/>
              <a:t>Vierte Ebene</a:t>
            </a:r>
          </a:p>
          <a:p>
            <a:pPr lvl="4"/>
            <a:r>
              <a:rPr lang="de-DE" altLang="en-US" noProof="0" dirty="0" smtClean="0"/>
              <a:t>Fünfte Ebene</a:t>
            </a:r>
          </a:p>
        </p:txBody>
      </p:sp>
      <p:sp>
        <p:nvSpPr>
          <p:cNvPr id="8198" name="Rectangle 6"/>
          <p:cNvSpPr>
            <a:spLocks noGrp="1" noChangeArrowheads="1"/>
          </p:cNvSpPr>
          <p:nvPr>
            <p:ph type="ftr" sz="quarter" idx="4"/>
          </p:nvPr>
        </p:nvSpPr>
        <p:spPr bwMode="auto">
          <a:xfrm>
            <a:off x="1" y="9449913"/>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b" anchorCtr="0" compatLnSpc="1">
            <a:prstTxWarp prst="textNoShape">
              <a:avLst/>
            </a:prstTxWarp>
          </a:bodyPr>
          <a:lstStyle>
            <a:lvl1pPr>
              <a:defRPr sz="1200" smtClean="0">
                <a:latin typeface="Arial Unicode MS" panose="020B0604020202020204" pitchFamily="34" charset="-128"/>
              </a:defRPr>
            </a:lvl1pPr>
          </a:lstStyle>
          <a:p>
            <a:pPr>
              <a:defRPr/>
            </a:pPr>
            <a:endParaRPr lang="de-DE" altLang="en-US" dirty="0"/>
          </a:p>
        </p:txBody>
      </p:sp>
      <p:sp>
        <p:nvSpPr>
          <p:cNvPr id="8199" name="Rectangle 7"/>
          <p:cNvSpPr>
            <a:spLocks noGrp="1" noChangeArrowheads="1"/>
          </p:cNvSpPr>
          <p:nvPr>
            <p:ph type="sldNum" sz="quarter" idx="5"/>
          </p:nvPr>
        </p:nvSpPr>
        <p:spPr bwMode="auto">
          <a:xfrm>
            <a:off x="3861913" y="9449913"/>
            <a:ext cx="2953226" cy="4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678" tIns="46339" rIns="92678" bIns="46339" numCol="1" anchor="b" anchorCtr="0" compatLnSpc="1">
            <a:prstTxWarp prst="textNoShape">
              <a:avLst/>
            </a:prstTxWarp>
          </a:bodyPr>
          <a:lstStyle>
            <a:lvl1pPr algn="r">
              <a:defRPr sz="1200" smtClean="0">
                <a:latin typeface="Arial Unicode MS" panose="020B0604020202020204" pitchFamily="34" charset="-128"/>
              </a:defRPr>
            </a:lvl1pPr>
          </a:lstStyle>
          <a:p>
            <a:pPr>
              <a:defRPr/>
            </a:pPr>
            <a:fld id="{5DFEBB6B-A723-4F2C-82EC-6520AF91C2E1}" type="slidenum">
              <a:rPr lang="de-DE" altLang="en-US" smtClean="0"/>
              <a:pPr>
                <a:defRPr/>
              </a:pPr>
              <a:t>‹Nr.›</a:t>
            </a:fld>
            <a:endParaRPr lang="de-DE" altLang="en-US" dirty="0"/>
          </a:p>
        </p:txBody>
      </p:sp>
    </p:spTree>
    <p:extLst>
      <p:ext uri="{BB962C8B-B14F-4D97-AF65-F5344CB8AC3E}">
        <p14:creationId xmlns:p14="http://schemas.microsoft.com/office/powerpoint/2010/main" val="26895061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Unicode MS" panose="020B0604020202020204" pitchFamily="34" charset="-128"/>
        <a:ea typeface="+mn-ea"/>
        <a:cs typeface="+mn-cs"/>
      </a:defRPr>
    </a:lvl1pPr>
    <a:lvl2pPr marL="457200" algn="l" rtl="0" eaLnBrk="0" fontAlgn="base" hangingPunct="0">
      <a:spcBef>
        <a:spcPct val="30000"/>
      </a:spcBef>
      <a:spcAft>
        <a:spcPct val="0"/>
      </a:spcAft>
      <a:defRPr sz="1200" kern="1200">
        <a:solidFill>
          <a:schemeClr val="tx1"/>
        </a:solidFill>
        <a:latin typeface="Arial Unicode MS" panose="020B0604020202020204" pitchFamily="34" charset="-128"/>
        <a:ea typeface="+mn-ea"/>
        <a:cs typeface="+mn-cs"/>
      </a:defRPr>
    </a:lvl2pPr>
    <a:lvl3pPr marL="914400" algn="l" rtl="0" eaLnBrk="0" fontAlgn="base" hangingPunct="0">
      <a:spcBef>
        <a:spcPct val="30000"/>
      </a:spcBef>
      <a:spcAft>
        <a:spcPct val="0"/>
      </a:spcAft>
      <a:defRPr sz="1200" kern="1200">
        <a:solidFill>
          <a:schemeClr val="tx1"/>
        </a:solidFill>
        <a:latin typeface="Arial Unicode MS" panose="020B0604020202020204" pitchFamily="34" charset="-128"/>
        <a:ea typeface="+mn-ea"/>
        <a:cs typeface="+mn-cs"/>
      </a:defRPr>
    </a:lvl3pPr>
    <a:lvl4pPr marL="1371600" algn="l" rtl="0" eaLnBrk="0" fontAlgn="base" hangingPunct="0">
      <a:spcBef>
        <a:spcPct val="30000"/>
      </a:spcBef>
      <a:spcAft>
        <a:spcPct val="0"/>
      </a:spcAft>
      <a:defRPr sz="1200" kern="1200">
        <a:solidFill>
          <a:schemeClr val="tx1"/>
        </a:solidFill>
        <a:latin typeface="Arial Unicode MS" panose="020B0604020202020204" pitchFamily="34" charset="-128"/>
        <a:ea typeface="+mn-ea"/>
        <a:cs typeface="+mn-cs"/>
      </a:defRPr>
    </a:lvl4pPr>
    <a:lvl5pPr marL="1828800" algn="l" rtl="0" eaLnBrk="0" fontAlgn="base" hangingPunct="0">
      <a:spcBef>
        <a:spcPct val="30000"/>
      </a:spcBef>
      <a:spcAft>
        <a:spcPct val="0"/>
      </a:spcAft>
      <a:defRPr sz="1200" kern="1200">
        <a:solidFill>
          <a:schemeClr val="tx1"/>
        </a:solidFill>
        <a:latin typeface="Arial Unicode MS" panose="020B0604020202020204" pitchFamily="34" charset="-12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a:t>
            </a:fld>
            <a:endParaRPr lang="de-DE" dirty="0"/>
          </a:p>
        </p:txBody>
      </p:sp>
    </p:spTree>
    <p:extLst>
      <p:ext uri="{BB962C8B-B14F-4D97-AF65-F5344CB8AC3E}">
        <p14:creationId xmlns:p14="http://schemas.microsoft.com/office/powerpoint/2010/main" val="1119562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1</a:t>
            </a:fld>
            <a:endParaRPr lang="de-DE" dirty="0"/>
          </a:p>
        </p:txBody>
      </p:sp>
    </p:spTree>
    <p:extLst>
      <p:ext uri="{BB962C8B-B14F-4D97-AF65-F5344CB8AC3E}">
        <p14:creationId xmlns:p14="http://schemas.microsoft.com/office/powerpoint/2010/main" val="901763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2</a:t>
            </a:fld>
            <a:endParaRPr lang="de-DE" dirty="0"/>
          </a:p>
        </p:txBody>
      </p:sp>
    </p:spTree>
    <p:extLst>
      <p:ext uri="{BB962C8B-B14F-4D97-AF65-F5344CB8AC3E}">
        <p14:creationId xmlns:p14="http://schemas.microsoft.com/office/powerpoint/2010/main" val="2796450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3</a:t>
            </a:fld>
            <a:endParaRPr lang="de-DE" dirty="0"/>
          </a:p>
        </p:txBody>
      </p:sp>
    </p:spTree>
    <p:extLst>
      <p:ext uri="{BB962C8B-B14F-4D97-AF65-F5344CB8AC3E}">
        <p14:creationId xmlns:p14="http://schemas.microsoft.com/office/powerpoint/2010/main" val="4135328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4</a:t>
            </a:fld>
            <a:endParaRPr lang="de-DE" dirty="0"/>
          </a:p>
        </p:txBody>
      </p:sp>
    </p:spTree>
    <p:extLst>
      <p:ext uri="{BB962C8B-B14F-4D97-AF65-F5344CB8AC3E}">
        <p14:creationId xmlns:p14="http://schemas.microsoft.com/office/powerpoint/2010/main" val="177406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5</a:t>
            </a:fld>
            <a:endParaRPr lang="de-DE" dirty="0"/>
          </a:p>
        </p:txBody>
      </p:sp>
    </p:spTree>
    <p:extLst>
      <p:ext uri="{BB962C8B-B14F-4D97-AF65-F5344CB8AC3E}">
        <p14:creationId xmlns:p14="http://schemas.microsoft.com/office/powerpoint/2010/main" val="458395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16</a:t>
            </a:fld>
            <a:endParaRPr lang="de-DE" dirty="0"/>
          </a:p>
        </p:txBody>
      </p:sp>
    </p:spTree>
    <p:extLst>
      <p:ext uri="{BB962C8B-B14F-4D97-AF65-F5344CB8AC3E}">
        <p14:creationId xmlns:p14="http://schemas.microsoft.com/office/powerpoint/2010/main" val="2185314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7</a:t>
            </a:fld>
            <a:endParaRPr lang="de-DE" dirty="0"/>
          </a:p>
        </p:txBody>
      </p:sp>
    </p:spTree>
    <p:extLst>
      <p:ext uri="{BB962C8B-B14F-4D97-AF65-F5344CB8AC3E}">
        <p14:creationId xmlns:p14="http://schemas.microsoft.com/office/powerpoint/2010/main" val="3606455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8</a:t>
            </a:fld>
            <a:endParaRPr lang="de-DE" dirty="0"/>
          </a:p>
        </p:txBody>
      </p:sp>
    </p:spTree>
    <p:extLst>
      <p:ext uri="{BB962C8B-B14F-4D97-AF65-F5344CB8AC3E}">
        <p14:creationId xmlns:p14="http://schemas.microsoft.com/office/powerpoint/2010/main" val="3414763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19</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20</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2</a:t>
            </a:fld>
            <a:endParaRPr lang="de-DE" dirty="0"/>
          </a:p>
        </p:txBody>
      </p:sp>
    </p:spTree>
    <p:extLst>
      <p:ext uri="{BB962C8B-B14F-4D97-AF65-F5344CB8AC3E}">
        <p14:creationId xmlns:p14="http://schemas.microsoft.com/office/powerpoint/2010/main" val="1352843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2550" y="746125"/>
            <a:ext cx="6650038" cy="37306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5DFEBB6B-A723-4F2C-82EC-6520AF91C2E1}" type="slidenum">
              <a:rPr lang="de-DE" altLang="en-US" smtClean="0"/>
              <a:pPr>
                <a:defRPr/>
              </a:pPr>
              <a:t>22</a:t>
            </a:fld>
            <a:endParaRPr lang="de-DE" altLang="en-US" dirty="0"/>
          </a:p>
        </p:txBody>
      </p:sp>
    </p:spTree>
    <p:extLst>
      <p:ext uri="{BB962C8B-B14F-4D97-AF65-F5344CB8AC3E}">
        <p14:creationId xmlns:p14="http://schemas.microsoft.com/office/powerpoint/2010/main" val="930440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2550" y="746125"/>
            <a:ext cx="6650038" cy="37306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5DFEBB6B-A723-4F2C-82EC-6520AF91C2E1}" type="slidenum">
              <a:rPr lang="de-DE" altLang="en-US" smtClean="0"/>
              <a:pPr>
                <a:defRPr/>
              </a:pPr>
              <a:t>23</a:t>
            </a:fld>
            <a:endParaRPr lang="de-DE" altLang="en-US" dirty="0"/>
          </a:p>
        </p:txBody>
      </p:sp>
    </p:spTree>
    <p:extLst>
      <p:ext uri="{BB962C8B-B14F-4D97-AF65-F5344CB8AC3E}">
        <p14:creationId xmlns:p14="http://schemas.microsoft.com/office/powerpoint/2010/main" val="107587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24</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32</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DFEBB6B-A723-4F2C-82EC-6520AF91C2E1}" type="slidenum">
              <a:rPr lang="de-DE" altLang="en-US" smtClean="0"/>
              <a:pPr>
                <a:defRPr/>
              </a:pPr>
              <a:t>35</a:t>
            </a:fld>
            <a:endParaRPr lang="de-DE" altLang="en-US" dirty="0"/>
          </a:p>
        </p:txBody>
      </p:sp>
    </p:spTree>
    <p:extLst>
      <p:ext uri="{BB962C8B-B14F-4D97-AF65-F5344CB8AC3E}">
        <p14:creationId xmlns:p14="http://schemas.microsoft.com/office/powerpoint/2010/main" val="1327231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36</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DFEBB6B-A723-4F2C-82EC-6520AF91C2E1}" type="slidenum">
              <a:rPr lang="de-DE" altLang="en-US" smtClean="0"/>
              <a:pPr>
                <a:defRPr/>
              </a:pPr>
              <a:t>37</a:t>
            </a:fld>
            <a:endParaRPr lang="de-DE" altLang="en-US" dirty="0"/>
          </a:p>
        </p:txBody>
      </p:sp>
    </p:spTree>
    <p:extLst>
      <p:ext uri="{BB962C8B-B14F-4D97-AF65-F5344CB8AC3E}">
        <p14:creationId xmlns:p14="http://schemas.microsoft.com/office/powerpoint/2010/main" val="25799277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39</a:t>
            </a:fld>
            <a:endParaRPr lang="de-DE" dirty="0"/>
          </a:p>
        </p:txBody>
      </p:sp>
    </p:spTree>
    <p:extLst>
      <p:ext uri="{BB962C8B-B14F-4D97-AF65-F5344CB8AC3E}">
        <p14:creationId xmlns:p14="http://schemas.microsoft.com/office/powerpoint/2010/main" val="4583953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44</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48</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3</a:t>
            </a:fld>
            <a:endParaRPr lang="de-DE" dirty="0"/>
          </a:p>
        </p:txBody>
      </p:sp>
    </p:spTree>
    <p:extLst>
      <p:ext uri="{BB962C8B-B14F-4D97-AF65-F5344CB8AC3E}">
        <p14:creationId xmlns:p14="http://schemas.microsoft.com/office/powerpoint/2010/main" val="13528434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49</a:t>
            </a:fld>
            <a:endParaRPr lang="de-DE" dirty="0"/>
          </a:p>
        </p:txBody>
      </p:sp>
    </p:spTree>
    <p:extLst>
      <p:ext uri="{BB962C8B-B14F-4D97-AF65-F5344CB8AC3E}">
        <p14:creationId xmlns:p14="http://schemas.microsoft.com/office/powerpoint/2010/main" val="34147632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5DFEBB6B-A723-4F2C-82EC-6520AF91C2E1}" type="slidenum">
              <a:rPr lang="de-DE" altLang="en-US" smtClean="0"/>
              <a:pPr>
                <a:defRPr/>
              </a:pPr>
              <a:t>61</a:t>
            </a:fld>
            <a:endParaRPr lang="de-DE" altLang="en-US" dirty="0"/>
          </a:p>
        </p:txBody>
      </p:sp>
    </p:spTree>
    <p:extLst>
      <p:ext uri="{BB962C8B-B14F-4D97-AF65-F5344CB8AC3E}">
        <p14:creationId xmlns:p14="http://schemas.microsoft.com/office/powerpoint/2010/main" val="2082158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4</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6</a:t>
            </a:fld>
            <a:endParaRPr lang="de-DE" dirty="0"/>
          </a:p>
        </p:txBody>
      </p:sp>
    </p:spTree>
    <p:extLst>
      <p:ext uri="{BB962C8B-B14F-4D97-AF65-F5344CB8AC3E}">
        <p14:creationId xmlns:p14="http://schemas.microsoft.com/office/powerpoint/2010/main" val="3896145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0CA530D-631F-4981-98F0-E6C07C67E1A3}" type="slidenum">
              <a:rPr lang="de-DE" smtClean="0"/>
              <a:t>7</a:t>
            </a:fld>
            <a:endParaRPr lang="de-DE" dirty="0"/>
          </a:p>
        </p:txBody>
      </p:sp>
    </p:spTree>
    <p:extLst>
      <p:ext uri="{BB962C8B-B14F-4D97-AF65-F5344CB8AC3E}">
        <p14:creationId xmlns:p14="http://schemas.microsoft.com/office/powerpoint/2010/main" val="1970123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8</a:t>
            </a:fld>
            <a:endParaRPr lang="de-DE" dirty="0"/>
          </a:p>
        </p:txBody>
      </p:sp>
    </p:spTree>
    <p:extLst>
      <p:ext uri="{BB962C8B-B14F-4D97-AF65-F5344CB8AC3E}">
        <p14:creationId xmlns:p14="http://schemas.microsoft.com/office/powerpoint/2010/main" val="4153338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9</a:t>
            </a:fld>
            <a:endParaRPr lang="de-DE" dirty="0"/>
          </a:p>
        </p:txBody>
      </p:sp>
    </p:spTree>
    <p:extLst>
      <p:ext uri="{BB962C8B-B14F-4D97-AF65-F5344CB8AC3E}">
        <p14:creationId xmlns:p14="http://schemas.microsoft.com/office/powerpoint/2010/main" val="2100099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6125"/>
            <a:ext cx="6650038" cy="37306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0CA530D-631F-4981-98F0-E6C07C67E1A3}" type="slidenum">
              <a:rPr lang="de-DE" smtClean="0"/>
              <a:t>10</a:t>
            </a:fld>
            <a:endParaRPr lang="de-DE" dirty="0"/>
          </a:p>
        </p:txBody>
      </p:sp>
    </p:spTree>
    <p:extLst>
      <p:ext uri="{BB962C8B-B14F-4D97-AF65-F5344CB8AC3E}">
        <p14:creationId xmlns:p14="http://schemas.microsoft.com/office/powerpoint/2010/main" val="714750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917020" y="1828800"/>
            <a:ext cx="10392886" cy="1600200"/>
          </a:xfrm>
        </p:spPr>
        <p:txBody>
          <a:bodyPr/>
          <a:lstStyle>
            <a:lvl1pPr>
              <a:defRPr/>
            </a:lvl1pPr>
          </a:lstStyle>
          <a:p>
            <a:pPr lvl="0"/>
            <a:r>
              <a:rPr lang="de-DE" altLang="en-US" noProof="0" smtClean="0"/>
              <a:t>Klicken Sie, um das Format des Titel-Masters zu bearbeiten.</a:t>
            </a:r>
          </a:p>
        </p:txBody>
      </p:sp>
      <p:sp>
        <p:nvSpPr>
          <p:cNvPr id="4099" name="Rectangle 3"/>
          <p:cNvSpPr>
            <a:spLocks noGrp="1" noChangeArrowheads="1"/>
          </p:cNvSpPr>
          <p:nvPr>
            <p:ph type="subTitle" idx="1"/>
          </p:nvPr>
        </p:nvSpPr>
        <p:spPr>
          <a:xfrm>
            <a:off x="1528365" y="3886200"/>
            <a:ext cx="9068303" cy="1981200"/>
          </a:xfrm>
        </p:spPr>
        <p:txBody>
          <a:bodyPr/>
          <a:lstStyle>
            <a:lvl1pPr marL="0" indent="0" algn="ctr">
              <a:buFontTx/>
              <a:buNone/>
              <a:defRPr sz="3600"/>
            </a:lvl1pPr>
          </a:lstStyle>
          <a:p>
            <a:pPr lvl="0"/>
            <a:r>
              <a:rPr lang="de-DE" altLang="en-US" noProof="0" smtClean="0"/>
              <a:t>Klicken Sie, um das Format des Untertitel-Masters zu bearbeiten.</a:t>
            </a:r>
          </a:p>
        </p:txBody>
      </p:sp>
      <p:sp>
        <p:nvSpPr>
          <p:cNvPr id="4" name="Rectangle 4"/>
          <p:cNvSpPr>
            <a:spLocks noGrp="1" noChangeArrowheads="1"/>
          </p:cNvSpPr>
          <p:nvPr>
            <p:ph type="dt" sz="half" idx="10"/>
          </p:nvPr>
        </p:nvSpPr>
        <p:spPr>
          <a:ln/>
        </p:spPr>
        <p:txBody>
          <a:bodyPr/>
          <a:lstStyle>
            <a:lvl1pPr>
              <a:defRPr/>
            </a:lvl1pPr>
          </a:lstStyle>
          <a:p>
            <a:pPr>
              <a:defRPr/>
            </a:pPr>
            <a:fld id="{3EC65360-C05D-4F08-BAC5-EB1677C70AF9}"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B95224D0-F3ED-4AC7-92F1-B2715AD039B4}" type="slidenum">
              <a:rPr lang="de-DE" altLang="en-US"/>
              <a:pPr>
                <a:defRPr/>
              </a:pPr>
              <a:t>‹Nr.›</a:t>
            </a:fld>
            <a:endParaRPr lang="de-DE" altLang="en-US"/>
          </a:p>
        </p:txBody>
      </p:sp>
      <p:sp>
        <p:nvSpPr>
          <p:cNvPr id="2" name="Rechteck 1"/>
          <p:cNvSpPr/>
          <p:nvPr userDrawn="1"/>
        </p:nvSpPr>
        <p:spPr bwMode="auto">
          <a:xfrm>
            <a:off x="10542605" y="44624"/>
            <a:ext cx="1684320" cy="108012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chemeClr val="tx1"/>
              </a:solidFill>
              <a:effectLst/>
              <a:latin typeface="Times"/>
            </a:endParaRPr>
          </a:p>
        </p:txBody>
      </p:sp>
      <p:sp>
        <p:nvSpPr>
          <p:cNvPr id="8" name="Rechteck 7"/>
          <p:cNvSpPr/>
          <p:nvPr userDrawn="1"/>
        </p:nvSpPr>
        <p:spPr bwMode="auto">
          <a:xfrm>
            <a:off x="0" y="6525344"/>
            <a:ext cx="625178" cy="332656"/>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chemeClr val="tx1"/>
              </a:solidFill>
              <a:effectLst/>
              <a:latin typeface="Times"/>
            </a:endParaRPr>
          </a:p>
        </p:txBody>
      </p:sp>
    </p:spTree>
    <p:extLst>
      <p:ext uri="{BB962C8B-B14F-4D97-AF65-F5344CB8AC3E}">
        <p14:creationId xmlns:p14="http://schemas.microsoft.com/office/powerpoint/2010/main" val="2689152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96563" y="4800600"/>
            <a:ext cx="7336155"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96563" y="612775"/>
            <a:ext cx="733615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2396563" y="5367338"/>
            <a:ext cx="733615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65B9F79E-2A54-46AE-BFA4-5C5AF2642EB2}" type="datetime1">
              <a:rPr lang="de-DE" altLang="en-US" smtClean="0"/>
              <a:t>06.07.2021</a:t>
            </a:fld>
            <a:endParaRPr lang="de-DE" altLang="en-US"/>
          </a:p>
        </p:txBody>
      </p:sp>
      <p:sp>
        <p:nvSpPr>
          <p:cNvPr id="6"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7" name="Rectangle 6"/>
          <p:cNvSpPr>
            <a:spLocks noGrp="1" noChangeArrowheads="1"/>
          </p:cNvSpPr>
          <p:nvPr>
            <p:ph type="sldNum" sz="quarter" idx="12"/>
          </p:nvPr>
        </p:nvSpPr>
        <p:spPr>
          <a:ln/>
        </p:spPr>
        <p:txBody>
          <a:bodyPr/>
          <a:lstStyle>
            <a:lvl1pPr>
              <a:defRPr/>
            </a:lvl1pPr>
          </a:lstStyle>
          <a:p>
            <a:pPr>
              <a:defRPr/>
            </a:pPr>
            <a:fld id="{A0E2B09E-5766-499B-9A5A-C626099CD231}" type="slidenum">
              <a:rPr lang="de-DE" altLang="en-US"/>
              <a:pPr>
                <a:defRPr/>
              </a:pPr>
              <a:t>‹Nr.›</a:t>
            </a:fld>
            <a:endParaRPr lang="de-DE" altLang="en-US"/>
          </a:p>
        </p:txBody>
      </p:sp>
      <p:sp>
        <p:nvSpPr>
          <p:cNvPr id="8" name="Rechteck 7"/>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1877511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13F513FF-93D9-44A7-8538-AE916C181266}"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257E6CC3-B033-4DE6-B031-505F7C744CF1}" type="slidenum">
              <a:rPr lang="de-DE" altLang="en-US"/>
              <a:pPr>
                <a:defRPr/>
              </a:pPr>
              <a:t>‹Nr.›</a:t>
            </a:fld>
            <a:endParaRPr lang="de-DE" altLang="en-US"/>
          </a:p>
        </p:txBody>
      </p:sp>
    </p:spTree>
    <p:extLst>
      <p:ext uri="{BB962C8B-B14F-4D97-AF65-F5344CB8AC3E}">
        <p14:creationId xmlns:p14="http://schemas.microsoft.com/office/powerpoint/2010/main" val="2400229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966412" y="609600"/>
            <a:ext cx="2852949" cy="541020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07564" y="609600"/>
            <a:ext cx="8355065" cy="541020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0979736B-A6A7-4DF9-8A8C-31F9690F63F2}"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EC2BFB7B-5E29-4568-B802-ED809EB399A4}" type="slidenum">
              <a:rPr lang="de-DE" altLang="en-US"/>
              <a:pPr>
                <a:defRPr/>
              </a:pPr>
              <a:t>‹Nr.›</a:t>
            </a:fld>
            <a:endParaRPr lang="de-DE" altLang="en-US"/>
          </a:p>
        </p:txBody>
      </p:sp>
    </p:spTree>
    <p:extLst>
      <p:ext uri="{BB962C8B-B14F-4D97-AF65-F5344CB8AC3E}">
        <p14:creationId xmlns:p14="http://schemas.microsoft.com/office/powerpoint/2010/main" val="3555219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4181" y="428625"/>
            <a:ext cx="7439639" cy="2428874"/>
          </a:xfrm>
        </p:spPr>
        <p:txBody>
          <a:bodyPr anchor="b" anchorCtr="0"/>
          <a:lstStyle>
            <a:lvl1pPr algn="l">
              <a:lnSpc>
                <a:spcPct val="85000"/>
              </a:lnSpc>
              <a:defRPr sz="6000">
                <a:solidFill>
                  <a:schemeClr val="tx1"/>
                </a:solidFill>
              </a:defRPr>
            </a:lvl1pPr>
          </a:lstStyle>
          <a:p>
            <a:r>
              <a:rPr lang="de-DE"/>
              <a:t>[Presentation title]</a:t>
            </a:r>
            <a:endParaRPr lang="de-DE" dirty="0"/>
          </a:p>
        </p:txBody>
      </p:sp>
      <p:sp>
        <p:nvSpPr>
          <p:cNvPr id="3" name="Subtitle 2"/>
          <p:cNvSpPr>
            <a:spLocks noGrp="1"/>
          </p:cNvSpPr>
          <p:nvPr>
            <p:ph type="subTitle" idx="1" hasCustomPrompt="1"/>
          </p:nvPr>
        </p:nvSpPr>
        <p:spPr>
          <a:xfrm>
            <a:off x="444183" y="3749040"/>
            <a:ext cx="548938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de-DE"/>
              <a:t>[Presentation subtitle]</a:t>
            </a:r>
            <a:endParaRPr lang="de-DE" dirty="0"/>
          </a:p>
        </p:txBody>
      </p:sp>
    </p:spTree>
    <p:extLst>
      <p:ext uri="{BB962C8B-B14F-4D97-AF65-F5344CB8AC3E}">
        <p14:creationId xmlns:p14="http://schemas.microsoft.com/office/powerpoint/2010/main" val="206196609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Four Text Boxes for Icon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231F41F7-3492-4913-9C3D-78C7B7FC8A15}"/>
              </a:ext>
            </a:extLst>
          </p:cNvPr>
          <p:cNvGraphicFramePr>
            <a:graphicFrameLocks noChangeAspect="1"/>
          </p:cNvGraphicFramePr>
          <p:nvPr userDrawn="1">
            <p:custDataLst>
              <p:tags r:id="rId2"/>
            </p:custDataLst>
            <p:extLst>
              <p:ext uri="{D42A27DB-BD31-4B8C-83A1-F6EECF244321}">
                <p14:modId xmlns:p14="http://schemas.microsoft.com/office/powerpoint/2010/main" val="415986898"/>
              </p:ext>
            </p:ext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12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4FE4D657-0C18-45DA-8541-5B32F63471E8}"/>
              </a:ext>
            </a:extLst>
          </p:cNvPr>
          <p:cNvSpPr/>
          <p:nvPr userDrawn="1">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de-DE" sz="2800" b="0" i="0" baseline="0" dirty="0">
              <a:latin typeface="Georgia" panose="02040502050405020303" pitchFamily="18" charset="0"/>
              <a:ea typeface="+mj-ea"/>
              <a:cs typeface="+mj-cs"/>
              <a:sym typeface="Georgia" panose="02040502050405020303" pitchFamily="18" charset="0"/>
            </a:endParaRPr>
          </a:p>
        </p:txBody>
      </p:sp>
      <p:sp>
        <p:nvSpPr>
          <p:cNvPr id="13" name="Text Placeholder 12"/>
          <p:cNvSpPr>
            <a:spLocks noGrp="1"/>
          </p:cNvSpPr>
          <p:nvPr>
            <p:ph type="body" sz="quarter" idx="14"/>
          </p:nvPr>
        </p:nvSpPr>
        <p:spPr>
          <a:xfrm>
            <a:off x="444182" y="3429000"/>
            <a:ext cx="2567654"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endParaRPr lang="de-DE" dirty="0"/>
          </a:p>
        </p:txBody>
      </p:sp>
      <p:sp>
        <p:nvSpPr>
          <p:cNvPr id="17" name="Text Placeholder 12"/>
          <p:cNvSpPr>
            <a:spLocks noGrp="1"/>
          </p:cNvSpPr>
          <p:nvPr>
            <p:ph type="body" sz="quarter" idx="16"/>
          </p:nvPr>
        </p:nvSpPr>
        <p:spPr>
          <a:xfrm>
            <a:off x="3369263" y="3429000"/>
            <a:ext cx="2567654"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endParaRPr lang="de-DE" dirty="0"/>
          </a:p>
        </p:txBody>
      </p:sp>
      <p:sp>
        <p:nvSpPr>
          <p:cNvPr id="19" name="Text Placeholder 12"/>
          <p:cNvSpPr>
            <a:spLocks noGrp="1"/>
          </p:cNvSpPr>
          <p:nvPr>
            <p:ph type="body" sz="quarter" idx="18"/>
          </p:nvPr>
        </p:nvSpPr>
        <p:spPr>
          <a:xfrm>
            <a:off x="6294342" y="3429000"/>
            <a:ext cx="2567654"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endParaRPr lang="de-DE" dirty="0"/>
          </a:p>
        </p:txBody>
      </p:sp>
      <p:sp>
        <p:nvSpPr>
          <p:cNvPr id="15" name="Text Placeholder 12"/>
          <p:cNvSpPr>
            <a:spLocks noGrp="1"/>
          </p:cNvSpPr>
          <p:nvPr>
            <p:ph type="body" sz="quarter" idx="20"/>
          </p:nvPr>
        </p:nvSpPr>
        <p:spPr>
          <a:xfrm>
            <a:off x="9219422" y="3429000"/>
            <a:ext cx="2567654"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endParaRPr lang="de-DE" dirty="0"/>
          </a:p>
        </p:txBody>
      </p:sp>
      <p:sp>
        <p:nvSpPr>
          <p:cNvPr id="4" name="Date Placeholder 3">
            <a:extLst>
              <a:ext uri="{FF2B5EF4-FFF2-40B4-BE49-F238E27FC236}">
                <a16:creationId xmlns:a16="http://schemas.microsoft.com/office/drawing/2014/main" xmlns="" id="{AF74FE74-3638-4E08-872C-33C29698A1B6}"/>
              </a:ext>
            </a:extLst>
          </p:cNvPr>
          <p:cNvSpPr>
            <a:spLocks noGrp="1"/>
          </p:cNvSpPr>
          <p:nvPr>
            <p:ph type="dt" sz="half" idx="21"/>
          </p:nvPr>
        </p:nvSpPr>
        <p:spPr>
          <a:xfrm>
            <a:off x="10012897" y="6355080"/>
            <a:ext cx="1769847" cy="137160"/>
          </a:xfrm>
        </p:spPr>
        <p:txBody>
          <a:bodyPr vert="horz" lIns="0" tIns="0" rIns="0" bIns="0" rtlCol="0" anchor="b" anchorCtr="0"/>
          <a:lstStyle>
            <a:lvl1pPr algn="r">
              <a:defRPr lang="de-DE" smtClean="0"/>
            </a:lvl1pPr>
          </a:lstStyle>
          <a:p>
            <a:fld id="{2227B600-741F-4ED0-86D0-804BF42E2DDA}" type="datetime1">
              <a:rPr lang="de-DE" smtClean="0"/>
              <a:t>06.07.2021</a:t>
            </a:fld>
            <a:endParaRPr lang="de-DE"/>
          </a:p>
        </p:txBody>
      </p:sp>
      <p:sp>
        <p:nvSpPr>
          <p:cNvPr id="6" name="Footer Placeholder 5">
            <a:extLst>
              <a:ext uri="{FF2B5EF4-FFF2-40B4-BE49-F238E27FC236}">
                <a16:creationId xmlns:a16="http://schemas.microsoft.com/office/drawing/2014/main" xmlns="" id="{5A590809-E897-4093-9443-DEA0659EEB9F}"/>
              </a:ext>
            </a:extLst>
          </p:cNvPr>
          <p:cNvSpPr>
            <a:spLocks noGrp="1"/>
          </p:cNvSpPr>
          <p:nvPr>
            <p:ph type="ftr" sz="quarter" idx="22"/>
          </p:nvPr>
        </p:nvSpPr>
        <p:spPr>
          <a:xfrm>
            <a:off x="444181" y="6355080"/>
            <a:ext cx="5489381" cy="137160"/>
          </a:xfrm>
        </p:spPr>
        <p:txBody>
          <a:bodyPr vert="horz" lIns="0" tIns="0" rIns="0" bIns="0" rtlCol="0" anchor="b" anchorCtr="0"/>
          <a:lstStyle>
            <a:lvl1pPr algn="l">
              <a:defRPr lang="de-DE"/>
            </a:lvl1pPr>
          </a:lstStyle>
          <a:p>
            <a:r>
              <a:rPr lang="de-DE" smtClean="0"/>
              <a:t>EKHN</a:t>
            </a:r>
            <a:endParaRPr lang="de-DE"/>
          </a:p>
        </p:txBody>
      </p:sp>
      <p:sp>
        <p:nvSpPr>
          <p:cNvPr id="7" name="Slide Number Placeholder 6">
            <a:extLst>
              <a:ext uri="{FF2B5EF4-FFF2-40B4-BE49-F238E27FC236}">
                <a16:creationId xmlns:a16="http://schemas.microsoft.com/office/drawing/2014/main" xmlns="" id="{6FADD6F9-2B55-4125-9753-CE6AF342A40C}"/>
              </a:ext>
            </a:extLst>
          </p:cNvPr>
          <p:cNvSpPr>
            <a:spLocks noGrp="1"/>
          </p:cNvSpPr>
          <p:nvPr>
            <p:ph type="sldNum" sz="quarter" idx="23"/>
          </p:nvPr>
        </p:nvSpPr>
        <p:spPr>
          <a:xfrm>
            <a:off x="10012897" y="6492240"/>
            <a:ext cx="1769847" cy="137160"/>
          </a:xfrm>
        </p:spPr>
        <p:txBody>
          <a:bodyPr vert="horz" lIns="0" tIns="0" rIns="0" bIns="0" rtlCol="0" anchor="b" anchorCtr="0">
            <a:noAutofit/>
          </a:bodyPr>
          <a:lstStyle>
            <a:lvl1pPr algn="r">
              <a:defRPr lang="de-DE" smtClean="0"/>
            </a:lvl1pPr>
          </a:lstStyle>
          <a:p>
            <a:fld id="{1C198799-69ED-41F3-BD93-533E14B4A78A}" type="slidenum">
              <a:rPr lang="de-DE" smtClean="0"/>
              <a:pPr/>
              <a:t>‹Nr.›</a:t>
            </a:fld>
            <a:endParaRPr lang="de-DE"/>
          </a:p>
        </p:txBody>
      </p:sp>
    </p:spTree>
    <p:extLst>
      <p:ext uri="{BB962C8B-B14F-4D97-AF65-F5344CB8AC3E}">
        <p14:creationId xmlns:p14="http://schemas.microsoft.com/office/powerpoint/2010/main" val="173084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917020" y="1828800"/>
            <a:ext cx="10392886" cy="1600200"/>
          </a:xfrm>
        </p:spPr>
        <p:txBody>
          <a:bodyPr/>
          <a:lstStyle>
            <a:lvl1pPr>
              <a:defRPr/>
            </a:lvl1pPr>
          </a:lstStyle>
          <a:p>
            <a:pPr lvl="0"/>
            <a:r>
              <a:rPr lang="de-DE" altLang="en-US" noProof="0" smtClean="0"/>
              <a:t>Klicken Sie, um das Format des Titel-Masters zu bearbeiten.</a:t>
            </a:r>
          </a:p>
        </p:txBody>
      </p:sp>
      <p:sp>
        <p:nvSpPr>
          <p:cNvPr id="4099" name="Rectangle 3"/>
          <p:cNvSpPr>
            <a:spLocks noGrp="1" noChangeArrowheads="1"/>
          </p:cNvSpPr>
          <p:nvPr>
            <p:ph type="subTitle" idx="1"/>
          </p:nvPr>
        </p:nvSpPr>
        <p:spPr>
          <a:xfrm>
            <a:off x="1528365" y="3886200"/>
            <a:ext cx="9068303" cy="1981200"/>
          </a:xfrm>
        </p:spPr>
        <p:txBody>
          <a:bodyPr/>
          <a:lstStyle>
            <a:lvl1pPr marL="0" indent="0" algn="ctr">
              <a:buFontTx/>
              <a:buNone/>
              <a:defRPr sz="3600"/>
            </a:lvl1pPr>
          </a:lstStyle>
          <a:p>
            <a:pPr lvl="0"/>
            <a:r>
              <a:rPr lang="de-DE" altLang="en-US" noProof="0" smtClean="0"/>
              <a:t>Klicken Sie, um das Format des Untertitel-Masters zu bearbeiten.</a:t>
            </a:r>
          </a:p>
        </p:txBody>
      </p:sp>
      <p:sp>
        <p:nvSpPr>
          <p:cNvPr id="4" name="Rectangle 4"/>
          <p:cNvSpPr>
            <a:spLocks noGrp="1" noChangeArrowheads="1"/>
          </p:cNvSpPr>
          <p:nvPr>
            <p:ph type="dt" sz="half" idx="10"/>
          </p:nvPr>
        </p:nvSpPr>
        <p:spPr>
          <a:ln/>
        </p:spPr>
        <p:txBody>
          <a:bodyPr/>
          <a:lstStyle>
            <a:lvl1pPr>
              <a:defRPr/>
            </a:lvl1pPr>
          </a:lstStyle>
          <a:p>
            <a:pPr>
              <a:defRPr/>
            </a:pPr>
            <a:fld id="{A4B91D98-A216-4302-BC2E-64A3B4FB7802}"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B95224D0-F3ED-4AC7-92F1-B2715AD039B4}" type="slidenum">
              <a:rPr lang="de-DE" altLang="en-US"/>
              <a:pPr>
                <a:defRPr/>
              </a:pPr>
              <a:t>‹Nr.›</a:t>
            </a:fld>
            <a:endParaRPr lang="de-DE" altLang="en-US"/>
          </a:p>
        </p:txBody>
      </p:sp>
    </p:spTree>
    <p:extLst>
      <p:ext uri="{BB962C8B-B14F-4D97-AF65-F5344CB8AC3E}">
        <p14:creationId xmlns:p14="http://schemas.microsoft.com/office/powerpoint/2010/main" val="1976364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a:spcBef>
                <a:spcPts val="2400"/>
              </a:spcBef>
              <a:buClr>
                <a:srgbClr val="572381"/>
              </a:buClr>
              <a:buSzPct val="150000"/>
              <a:defRPr sz="2400" b="1"/>
            </a:lvl1pPr>
            <a:lvl2pPr marL="742950" indent="-285750">
              <a:buClr>
                <a:srgbClr val="572381"/>
              </a:buClr>
              <a:buSzPct val="120000"/>
              <a:buFont typeface="Symbol" panose="05050102010706020507" pitchFamily="18" charset="2"/>
              <a:buChar char="-"/>
              <a:defRPr sz="2000" b="1"/>
            </a:lvl2pPr>
            <a:lvl3pPr>
              <a:defRPr sz="1800" b="1"/>
            </a:lvl3pPr>
            <a:lvl4pPr>
              <a:defRPr sz="1600" b="1"/>
            </a:lvl4pPr>
            <a:lvl5pPr>
              <a:defRPr sz="1400" b="1"/>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4"/>
          <p:cNvSpPr>
            <a:spLocks noGrp="1" noChangeArrowheads="1"/>
          </p:cNvSpPr>
          <p:nvPr>
            <p:ph type="dt" sz="half" idx="10"/>
          </p:nvPr>
        </p:nvSpPr>
        <p:spPr>
          <a:ln/>
        </p:spPr>
        <p:txBody>
          <a:bodyPr/>
          <a:lstStyle>
            <a:lvl1pPr>
              <a:defRPr/>
            </a:lvl1pPr>
          </a:lstStyle>
          <a:p>
            <a:pPr>
              <a:defRPr/>
            </a:pPr>
            <a:fld id="{87C3040E-71D5-4039-846D-8F1530C0A465}"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BEA88772-2E14-493F-A726-E8A7A8CFB7CD}" type="slidenum">
              <a:rPr lang="de-DE" altLang="en-US"/>
              <a:pPr>
                <a:defRPr/>
              </a:pPr>
              <a:t>‹Nr.›</a:t>
            </a:fld>
            <a:endParaRPr lang="de-DE" altLang="en-US"/>
          </a:p>
        </p:txBody>
      </p:sp>
      <p:sp>
        <p:nvSpPr>
          <p:cNvPr id="7" name="Rechteck 6"/>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890016" cy="890016"/>
          </a:xfrm>
          <a:prstGeom prst="rect">
            <a:avLst/>
          </a:prstGeom>
        </p:spPr>
      </p:pic>
      <p:sp>
        <p:nvSpPr>
          <p:cNvPr id="2" name="Titel 1"/>
          <p:cNvSpPr>
            <a:spLocks noGrp="1"/>
          </p:cNvSpPr>
          <p:nvPr>
            <p:ph type="title"/>
          </p:nvPr>
        </p:nvSpPr>
        <p:spPr>
          <a:xfrm>
            <a:off x="1010420" y="476672"/>
            <a:ext cx="6932570" cy="379140"/>
          </a:xfrm>
          <a:prstGeom prst="roundRect">
            <a:avLst/>
          </a:prstGeom>
          <a:solidFill>
            <a:srgbClr val="572381">
              <a:alpha val="10000"/>
            </a:srgbClr>
          </a:solidFill>
          <a:effectLst>
            <a:outerShdw blurRad="50800" dist="38100" dir="2700000" algn="tl" rotWithShape="0">
              <a:prstClr val="black">
                <a:alpha val="40000"/>
              </a:prstClr>
            </a:outerShdw>
          </a:effectLst>
        </p:spPr>
        <p:txBody>
          <a:bodyPr/>
          <a:lstStyle>
            <a:lvl1pPr>
              <a:defRPr sz="2000" b="1">
                <a:solidFill>
                  <a:srgbClr val="572381"/>
                </a:solidFill>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3970093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5843" y="4406901"/>
            <a:ext cx="10392886"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5843" y="2906713"/>
            <a:ext cx="10392886"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C847CE53-EC29-48D4-8DF8-E3E0DC6EA83A}" type="datetime1">
              <a:rPr lang="de-DE" altLang="en-US" smtClean="0"/>
              <a:t>06.07.2021</a:t>
            </a:fld>
            <a:endParaRPr lang="de-DE" altLang="en-US"/>
          </a:p>
        </p:txBody>
      </p:sp>
      <p:sp>
        <p:nvSpPr>
          <p:cNvPr id="5"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6" name="Rectangle 6"/>
          <p:cNvSpPr>
            <a:spLocks noGrp="1" noChangeArrowheads="1"/>
          </p:cNvSpPr>
          <p:nvPr>
            <p:ph type="sldNum" sz="quarter" idx="12"/>
          </p:nvPr>
        </p:nvSpPr>
        <p:spPr>
          <a:ln/>
        </p:spPr>
        <p:txBody>
          <a:bodyPr/>
          <a:lstStyle>
            <a:lvl1pPr>
              <a:defRPr/>
            </a:lvl1pPr>
          </a:lstStyle>
          <a:p>
            <a:pPr>
              <a:defRPr/>
            </a:pPr>
            <a:fld id="{10C5E703-D0E0-4917-81EE-20874279E3D4}" type="slidenum">
              <a:rPr lang="de-DE" altLang="en-US"/>
              <a:pPr>
                <a:defRPr/>
              </a:pPr>
              <a:t>‹Nr.›</a:t>
            </a:fld>
            <a:endParaRPr lang="de-DE" altLang="en-US"/>
          </a:p>
        </p:txBody>
      </p:sp>
      <p:sp>
        <p:nvSpPr>
          <p:cNvPr id="7" name="Rechteck 6"/>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3793582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07564" y="2362200"/>
            <a:ext cx="5604007"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215354" y="2362200"/>
            <a:ext cx="5604007"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dt" sz="half" idx="10"/>
          </p:nvPr>
        </p:nvSpPr>
        <p:spPr>
          <a:ln/>
        </p:spPr>
        <p:txBody>
          <a:bodyPr/>
          <a:lstStyle>
            <a:lvl1pPr>
              <a:defRPr/>
            </a:lvl1pPr>
          </a:lstStyle>
          <a:p>
            <a:pPr>
              <a:defRPr/>
            </a:pPr>
            <a:fld id="{2CAE821E-8E51-47FE-8D65-703EBD55AEED}" type="datetime1">
              <a:rPr lang="de-DE" altLang="en-US" smtClean="0"/>
              <a:t>06.07.2021</a:t>
            </a:fld>
            <a:endParaRPr lang="de-DE" altLang="en-US"/>
          </a:p>
        </p:txBody>
      </p:sp>
      <p:sp>
        <p:nvSpPr>
          <p:cNvPr id="6"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7" name="Rectangle 6"/>
          <p:cNvSpPr>
            <a:spLocks noGrp="1" noChangeArrowheads="1"/>
          </p:cNvSpPr>
          <p:nvPr>
            <p:ph type="sldNum" sz="quarter" idx="12"/>
          </p:nvPr>
        </p:nvSpPr>
        <p:spPr>
          <a:ln/>
        </p:spPr>
        <p:txBody>
          <a:bodyPr/>
          <a:lstStyle>
            <a:lvl1pPr>
              <a:defRPr/>
            </a:lvl1pPr>
          </a:lstStyle>
          <a:p>
            <a:pPr>
              <a:defRPr/>
            </a:pPr>
            <a:fld id="{DD60CD9C-39A0-4B14-8497-0040B36175EC}" type="slidenum">
              <a:rPr lang="de-DE" altLang="en-US"/>
              <a:pPr>
                <a:defRPr/>
              </a:pPr>
              <a:t>‹Nr.›</a:t>
            </a:fld>
            <a:endParaRPr lang="de-DE" altLang="en-US"/>
          </a:p>
        </p:txBody>
      </p:sp>
      <p:sp>
        <p:nvSpPr>
          <p:cNvPr id="8" name="Rechteck 7"/>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3958842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11346" y="274638"/>
            <a:ext cx="11004233"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11346" y="1535113"/>
            <a:ext cx="540234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611346" y="2174875"/>
            <a:ext cx="540234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211109" y="1535113"/>
            <a:ext cx="540447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6211109" y="2174875"/>
            <a:ext cx="540447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dt" sz="half" idx="10"/>
          </p:nvPr>
        </p:nvSpPr>
        <p:spPr>
          <a:ln/>
        </p:spPr>
        <p:txBody>
          <a:bodyPr/>
          <a:lstStyle>
            <a:lvl1pPr>
              <a:defRPr/>
            </a:lvl1pPr>
          </a:lstStyle>
          <a:p>
            <a:pPr>
              <a:defRPr/>
            </a:pPr>
            <a:fld id="{48CC0AFF-DE1E-4B83-847C-FAF2EB47A2FB}" type="datetime1">
              <a:rPr lang="de-DE" altLang="en-US" smtClean="0"/>
              <a:t>06.07.2021</a:t>
            </a:fld>
            <a:endParaRPr lang="de-DE" altLang="en-US"/>
          </a:p>
        </p:txBody>
      </p:sp>
      <p:sp>
        <p:nvSpPr>
          <p:cNvPr id="8"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9" name="Rectangle 6"/>
          <p:cNvSpPr>
            <a:spLocks noGrp="1" noChangeArrowheads="1"/>
          </p:cNvSpPr>
          <p:nvPr>
            <p:ph type="sldNum" sz="quarter" idx="12"/>
          </p:nvPr>
        </p:nvSpPr>
        <p:spPr>
          <a:ln/>
        </p:spPr>
        <p:txBody>
          <a:bodyPr/>
          <a:lstStyle>
            <a:lvl1pPr>
              <a:defRPr/>
            </a:lvl1pPr>
          </a:lstStyle>
          <a:p>
            <a:pPr>
              <a:defRPr/>
            </a:pPr>
            <a:fld id="{2630974F-7E3D-49C1-AF20-6BEE0AC80318}" type="slidenum">
              <a:rPr lang="de-DE" altLang="en-US"/>
              <a:pPr>
                <a:defRPr/>
              </a:pPr>
              <a:t>‹Nr.›</a:t>
            </a:fld>
            <a:endParaRPr lang="de-DE" altLang="en-US"/>
          </a:p>
        </p:txBody>
      </p:sp>
      <p:sp>
        <p:nvSpPr>
          <p:cNvPr id="10" name="Rechteck 9"/>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26087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dt" sz="half" idx="10"/>
          </p:nvPr>
        </p:nvSpPr>
        <p:spPr>
          <a:ln/>
        </p:spPr>
        <p:txBody>
          <a:bodyPr/>
          <a:lstStyle>
            <a:lvl1pPr>
              <a:defRPr/>
            </a:lvl1pPr>
          </a:lstStyle>
          <a:p>
            <a:pPr>
              <a:defRPr/>
            </a:pPr>
            <a:fld id="{619242FB-1557-4248-B98F-8C3C1268D81D}" type="datetime1">
              <a:rPr lang="de-DE" altLang="en-US" smtClean="0"/>
              <a:t>06.07.2021</a:t>
            </a:fld>
            <a:endParaRPr lang="de-DE" altLang="en-US"/>
          </a:p>
        </p:txBody>
      </p:sp>
      <p:sp>
        <p:nvSpPr>
          <p:cNvPr id="4"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5" name="Rectangle 6"/>
          <p:cNvSpPr>
            <a:spLocks noGrp="1" noChangeArrowheads="1"/>
          </p:cNvSpPr>
          <p:nvPr>
            <p:ph type="sldNum" sz="quarter" idx="12"/>
          </p:nvPr>
        </p:nvSpPr>
        <p:spPr>
          <a:ln/>
        </p:spPr>
        <p:txBody>
          <a:bodyPr/>
          <a:lstStyle>
            <a:lvl1pPr>
              <a:defRPr/>
            </a:lvl1pPr>
          </a:lstStyle>
          <a:p>
            <a:pPr>
              <a:defRPr/>
            </a:pPr>
            <a:fld id="{15C28EED-B891-473D-8A35-12BC1443133E}" type="slidenum">
              <a:rPr lang="de-DE" altLang="en-US"/>
              <a:pPr>
                <a:defRPr/>
              </a:pPr>
              <a:t>‹Nr.›</a:t>
            </a:fld>
            <a:endParaRPr lang="de-DE" altLang="en-US"/>
          </a:p>
        </p:txBody>
      </p:sp>
      <p:sp>
        <p:nvSpPr>
          <p:cNvPr id="6" name="Rechteck 5"/>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2717371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5CD34F4E-5EDB-4F6F-89E7-EB6E863D6924}" type="datetime1">
              <a:rPr lang="de-DE" altLang="en-US" smtClean="0"/>
              <a:t>06.07.2021</a:t>
            </a:fld>
            <a:endParaRPr lang="de-DE" altLang="en-US"/>
          </a:p>
        </p:txBody>
      </p:sp>
      <p:sp>
        <p:nvSpPr>
          <p:cNvPr id="3"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4" name="Rectangle 6"/>
          <p:cNvSpPr>
            <a:spLocks noGrp="1" noChangeArrowheads="1"/>
          </p:cNvSpPr>
          <p:nvPr>
            <p:ph type="sldNum" sz="quarter" idx="12"/>
          </p:nvPr>
        </p:nvSpPr>
        <p:spPr>
          <a:ln/>
        </p:spPr>
        <p:txBody>
          <a:bodyPr/>
          <a:lstStyle>
            <a:lvl1pPr>
              <a:defRPr/>
            </a:lvl1pPr>
          </a:lstStyle>
          <a:p>
            <a:pPr>
              <a:defRPr/>
            </a:pPr>
            <a:fld id="{7CEFF1C2-C8CB-479D-95F4-5E20E4DACF6B}" type="slidenum">
              <a:rPr lang="de-DE" altLang="en-US"/>
              <a:pPr>
                <a:defRPr/>
              </a:pPr>
              <a:t>‹Nr.›</a:t>
            </a:fld>
            <a:endParaRPr lang="de-DE" altLang="en-US"/>
          </a:p>
        </p:txBody>
      </p:sp>
      <p:sp>
        <p:nvSpPr>
          <p:cNvPr id="5" name="Rechteck 4"/>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2912424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11347" y="273050"/>
            <a:ext cx="4022574"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80388" y="273051"/>
            <a:ext cx="683519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11347" y="1435101"/>
            <a:ext cx="402257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A9850E61-AD00-44D2-9BF8-7A56D67AB511}" type="datetime1">
              <a:rPr lang="de-DE" altLang="en-US" smtClean="0"/>
              <a:t>06.07.2021</a:t>
            </a:fld>
            <a:endParaRPr lang="de-DE" altLang="en-US"/>
          </a:p>
        </p:txBody>
      </p:sp>
      <p:sp>
        <p:nvSpPr>
          <p:cNvPr id="6" name="Rectangle 5"/>
          <p:cNvSpPr>
            <a:spLocks noGrp="1" noChangeArrowheads="1"/>
          </p:cNvSpPr>
          <p:nvPr>
            <p:ph type="ftr" sz="quarter" idx="11"/>
          </p:nvPr>
        </p:nvSpPr>
        <p:spPr>
          <a:ln/>
        </p:spPr>
        <p:txBody>
          <a:bodyPr/>
          <a:lstStyle>
            <a:lvl1pPr>
              <a:defRPr/>
            </a:lvl1pPr>
          </a:lstStyle>
          <a:p>
            <a:pPr>
              <a:defRPr/>
            </a:pPr>
            <a:r>
              <a:rPr lang="de-DE" altLang="en-US" smtClean="0"/>
              <a:t>EKHN</a:t>
            </a:r>
            <a:endParaRPr lang="de-DE" altLang="en-US"/>
          </a:p>
        </p:txBody>
      </p:sp>
      <p:sp>
        <p:nvSpPr>
          <p:cNvPr id="7" name="Rectangle 6"/>
          <p:cNvSpPr>
            <a:spLocks noGrp="1" noChangeArrowheads="1"/>
          </p:cNvSpPr>
          <p:nvPr>
            <p:ph type="sldNum" sz="quarter" idx="12"/>
          </p:nvPr>
        </p:nvSpPr>
        <p:spPr>
          <a:ln/>
        </p:spPr>
        <p:txBody>
          <a:bodyPr/>
          <a:lstStyle>
            <a:lvl1pPr>
              <a:defRPr/>
            </a:lvl1pPr>
          </a:lstStyle>
          <a:p>
            <a:pPr>
              <a:defRPr/>
            </a:pPr>
            <a:fld id="{5E51281B-2D61-4A61-B31E-5E055A8BEB10}" type="slidenum">
              <a:rPr lang="de-DE" altLang="en-US"/>
              <a:pPr>
                <a:defRPr/>
              </a:pPr>
              <a:t>‹Nr.›</a:t>
            </a:fld>
            <a:endParaRPr lang="de-DE" altLang="en-US"/>
          </a:p>
        </p:txBody>
      </p:sp>
      <p:sp>
        <p:nvSpPr>
          <p:cNvPr id="8" name="Rechteck 7"/>
          <p:cNvSpPr/>
          <p:nvPr userDrawn="1"/>
        </p:nvSpPr>
        <p:spPr bwMode="auto">
          <a:xfrm>
            <a:off x="0" y="6525344"/>
            <a:ext cx="432606" cy="332656"/>
          </a:xfrm>
          <a:prstGeom prst="rect">
            <a:avLst/>
          </a:prstGeom>
          <a:solidFill>
            <a:srgbClr val="57238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572381"/>
              </a:solidFill>
              <a:effectLst/>
              <a:latin typeface="Times"/>
            </a:endParaRPr>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1462" y="188640"/>
            <a:ext cx="997516" cy="746000"/>
          </a:xfrm>
          <a:prstGeom prst="rect">
            <a:avLst/>
          </a:prstGeom>
        </p:spPr>
      </p:pic>
    </p:spTree>
    <p:extLst>
      <p:ext uri="{BB962C8B-B14F-4D97-AF65-F5344CB8AC3E}">
        <p14:creationId xmlns:p14="http://schemas.microsoft.com/office/powerpoint/2010/main" val="673519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07564" y="609600"/>
            <a:ext cx="11411797"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en-US" dirty="0" smtClean="0"/>
              <a:t>Hier klicken, um Master-Titelformat zu bearbeiten</a:t>
            </a:r>
          </a:p>
        </p:txBody>
      </p:sp>
      <p:sp>
        <p:nvSpPr>
          <p:cNvPr id="1027" name="Rectangle 3"/>
          <p:cNvSpPr>
            <a:spLocks noGrp="1" noChangeArrowheads="1"/>
          </p:cNvSpPr>
          <p:nvPr>
            <p:ph type="body" idx="1"/>
          </p:nvPr>
        </p:nvSpPr>
        <p:spPr bwMode="auto">
          <a:xfrm>
            <a:off x="407564" y="2362200"/>
            <a:ext cx="11411797"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en-US" dirty="0" smtClean="0"/>
              <a:t>Hier klicken, um Master-Textformat zu bearbeiten</a:t>
            </a:r>
          </a:p>
          <a:p>
            <a:pPr lvl="1"/>
            <a:r>
              <a:rPr lang="de-DE" altLang="en-US" dirty="0" smtClean="0"/>
              <a:t>Zweite Ebene</a:t>
            </a:r>
          </a:p>
          <a:p>
            <a:pPr lvl="2"/>
            <a:r>
              <a:rPr lang="de-DE" altLang="en-US" dirty="0" smtClean="0"/>
              <a:t>Dritte Ebene</a:t>
            </a:r>
          </a:p>
          <a:p>
            <a:pPr lvl="3"/>
            <a:r>
              <a:rPr lang="de-DE" altLang="en-US" dirty="0" smtClean="0"/>
              <a:t>Vierte Ebene</a:t>
            </a:r>
          </a:p>
          <a:p>
            <a:pPr lvl="4"/>
            <a:r>
              <a:rPr lang="de-DE" altLang="en-US" dirty="0" smtClean="0"/>
              <a:t>Fünfte Ebene</a:t>
            </a:r>
          </a:p>
        </p:txBody>
      </p:sp>
      <p:sp>
        <p:nvSpPr>
          <p:cNvPr id="1028" name="Rectangle 4"/>
          <p:cNvSpPr>
            <a:spLocks noGrp="1" noChangeArrowheads="1"/>
          </p:cNvSpPr>
          <p:nvPr>
            <p:ph type="dt" sz="half" idx="2"/>
          </p:nvPr>
        </p:nvSpPr>
        <p:spPr bwMode="auto">
          <a:xfrm>
            <a:off x="917019" y="6248400"/>
            <a:ext cx="254727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smtClean="0">
                <a:latin typeface="Arial Unicode MS" panose="020B0604020202020204" pitchFamily="34" charset="-128"/>
              </a:defRPr>
            </a:lvl1pPr>
          </a:lstStyle>
          <a:p>
            <a:pPr>
              <a:defRPr/>
            </a:pPr>
            <a:fld id="{4DB338A6-4002-41CF-A3D1-E14EB770DED2}" type="datetime1">
              <a:rPr lang="de-DE" altLang="en-US" smtClean="0"/>
              <a:t>06.07.2021</a:t>
            </a:fld>
            <a:endParaRPr lang="de-DE" altLang="en-US" dirty="0"/>
          </a:p>
        </p:txBody>
      </p:sp>
      <p:sp>
        <p:nvSpPr>
          <p:cNvPr id="1029" name="Rectangle 5"/>
          <p:cNvSpPr>
            <a:spLocks noGrp="1" noChangeArrowheads="1"/>
          </p:cNvSpPr>
          <p:nvPr>
            <p:ph type="ftr" sz="quarter" idx="3"/>
          </p:nvPr>
        </p:nvSpPr>
        <p:spPr bwMode="auto">
          <a:xfrm>
            <a:off x="4177533" y="6248400"/>
            <a:ext cx="387186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smtClean="0">
                <a:latin typeface="Arial Unicode MS" panose="020B0604020202020204" pitchFamily="34" charset="-128"/>
              </a:defRPr>
            </a:lvl1pPr>
          </a:lstStyle>
          <a:p>
            <a:pPr>
              <a:defRPr/>
            </a:pPr>
            <a:r>
              <a:rPr lang="de-DE" altLang="en-US" smtClean="0"/>
              <a:t>EKHN</a:t>
            </a:r>
            <a:endParaRPr lang="de-DE" altLang="en-US" dirty="0"/>
          </a:p>
        </p:txBody>
      </p:sp>
      <p:sp>
        <p:nvSpPr>
          <p:cNvPr id="1030" name="Rectangle 6"/>
          <p:cNvSpPr>
            <a:spLocks noGrp="1" noChangeArrowheads="1"/>
          </p:cNvSpPr>
          <p:nvPr>
            <p:ph type="sldNum" sz="quarter" idx="4"/>
          </p:nvPr>
        </p:nvSpPr>
        <p:spPr bwMode="auto">
          <a:xfrm>
            <a:off x="8762630" y="6248400"/>
            <a:ext cx="305673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smtClean="0">
                <a:latin typeface="Arial Unicode MS" panose="020B0604020202020204" pitchFamily="34" charset="-128"/>
              </a:defRPr>
            </a:lvl1pPr>
          </a:lstStyle>
          <a:p>
            <a:pPr>
              <a:defRPr/>
            </a:pPr>
            <a:fld id="{C6802FAC-F11A-4691-ABDC-9447F342E09F}" type="slidenum">
              <a:rPr lang="de-DE" altLang="en-US" smtClean="0"/>
              <a:pPr>
                <a:defRPr/>
              </a:pPr>
              <a:t>‹Nr.›</a:t>
            </a:fld>
            <a:endParaRPr lang="de-DE" altLang="en-US" dirty="0"/>
          </a:p>
        </p:txBody>
      </p:sp>
    </p:spTree>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1" r:id="rId13"/>
    <p:sldLayoutId id="2147483662" r:id="rId14"/>
  </p:sldLayoutIdLst>
  <p:hf hdr="0"/>
  <p:txStyles>
    <p:titleStyle>
      <a:lvl1pPr algn="ctr" rtl="0" eaLnBrk="0" fontAlgn="base" hangingPunct="0">
        <a:spcBef>
          <a:spcPct val="0"/>
        </a:spcBef>
        <a:spcAft>
          <a:spcPct val="0"/>
        </a:spcAft>
        <a:defRPr sz="4400">
          <a:solidFill>
            <a:schemeClr val="tx2"/>
          </a:solidFill>
          <a:latin typeface="Arial Unicode MS" panose="020B0604020202020204" pitchFamily="34" charset="-128"/>
          <a:ea typeface="+mj-ea"/>
          <a:cs typeface="+mj-cs"/>
        </a:defRPr>
      </a:lvl1pPr>
      <a:lvl2pPr algn="ctr" rtl="0" eaLnBrk="0" fontAlgn="base" hangingPunct="0">
        <a:spcBef>
          <a:spcPct val="0"/>
        </a:spcBef>
        <a:spcAft>
          <a:spcPct val="0"/>
        </a:spcAft>
        <a:defRPr sz="4400">
          <a:solidFill>
            <a:schemeClr val="tx2"/>
          </a:solidFill>
          <a:latin typeface="Times"/>
        </a:defRPr>
      </a:lvl2pPr>
      <a:lvl3pPr algn="ctr" rtl="0" eaLnBrk="0" fontAlgn="base" hangingPunct="0">
        <a:spcBef>
          <a:spcPct val="0"/>
        </a:spcBef>
        <a:spcAft>
          <a:spcPct val="0"/>
        </a:spcAft>
        <a:defRPr sz="4400">
          <a:solidFill>
            <a:schemeClr val="tx2"/>
          </a:solidFill>
          <a:latin typeface="Times"/>
        </a:defRPr>
      </a:lvl3pPr>
      <a:lvl4pPr algn="ctr" rtl="0" eaLnBrk="0" fontAlgn="base" hangingPunct="0">
        <a:spcBef>
          <a:spcPct val="0"/>
        </a:spcBef>
        <a:spcAft>
          <a:spcPct val="0"/>
        </a:spcAft>
        <a:defRPr sz="4400">
          <a:solidFill>
            <a:schemeClr val="tx2"/>
          </a:solidFill>
          <a:latin typeface="Times"/>
        </a:defRPr>
      </a:lvl4pPr>
      <a:lvl5pPr algn="ctr" rtl="0" eaLnBrk="0" fontAlgn="base" hangingPunct="0">
        <a:spcBef>
          <a:spcPct val="0"/>
        </a:spcBef>
        <a:spcAft>
          <a:spcPct val="0"/>
        </a:spcAft>
        <a:defRPr sz="4400">
          <a:solidFill>
            <a:schemeClr val="tx2"/>
          </a:solidFill>
          <a:latin typeface="Times"/>
        </a:defRPr>
      </a:lvl5pPr>
      <a:lvl6pPr marL="457200" algn="ctr" rtl="0" eaLnBrk="0" fontAlgn="base" hangingPunct="0">
        <a:spcBef>
          <a:spcPct val="0"/>
        </a:spcBef>
        <a:spcAft>
          <a:spcPct val="0"/>
        </a:spcAft>
        <a:defRPr sz="4400">
          <a:solidFill>
            <a:schemeClr val="tx2"/>
          </a:solidFill>
          <a:latin typeface="Times"/>
        </a:defRPr>
      </a:lvl6pPr>
      <a:lvl7pPr marL="914400" algn="ctr" rtl="0" eaLnBrk="0" fontAlgn="base" hangingPunct="0">
        <a:spcBef>
          <a:spcPct val="0"/>
        </a:spcBef>
        <a:spcAft>
          <a:spcPct val="0"/>
        </a:spcAft>
        <a:defRPr sz="4400">
          <a:solidFill>
            <a:schemeClr val="tx2"/>
          </a:solidFill>
          <a:latin typeface="Times"/>
        </a:defRPr>
      </a:lvl7pPr>
      <a:lvl8pPr marL="1371600" algn="ctr" rtl="0" eaLnBrk="0" fontAlgn="base" hangingPunct="0">
        <a:spcBef>
          <a:spcPct val="0"/>
        </a:spcBef>
        <a:spcAft>
          <a:spcPct val="0"/>
        </a:spcAft>
        <a:defRPr sz="4400">
          <a:solidFill>
            <a:schemeClr val="tx2"/>
          </a:solidFill>
          <a:latin typeface="Times"/>
        </a:defRPr>
      </a:lvl8pPr>
      <a:lvl9pPr marL="1828800" algn="ctr" rtl="0" eaLnBrk="0" fontAlgn="base" hangingPunct="0">
        <a:spcBef>
          <a:spcPct val="0"/>
        </a:spcBef>
        <a:spcAft>
          <a:spcPct val="0"/>
        </a:spcAft>
        <a:defRPr sz="4400">
          <a:solidFill>
            <a:schemeClr val="tx2"/>
          </a:solidFill>
          <a:latin typeface="Times"/>
        </a:defRPr>
      </a:lvl9pPr>
    </p:titleStyle>
    <p:bodyStyle>
      <a:lvl1pPr marL="342900" indent="-342900" algn="l" rtl="0" eaLnBrk="0" fontAlgn="base" hangingPunct="0">
        <a:spcBef>
          <a:spcPct val="20000"/>
        </a:spcBef>
        <a:spcAft>
          <a:spcPct val="0"/>
        </a:spcAft>
        <a:buChar char="•"/>
        <a:defRPr sz="2800">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har char="–"/>
        <a:defRPr sz="2800">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3.xml"/><Relationship Id="rId1" Type="http://schemas.openxmlformats.org/officeDocument/2006/relationships/vmlDrawing" Target="../drawings/vmlDrawing21.vml"/><Relationship Id="rId6" Type="http://schemas.openxmlformats.org/officeDocument/2006/relationships/image" Target="../media/image9.wmf"/><Relationship Id="rId5" Type="http://schemas.openxmlformats.org/officeDocument/2006/relationships/package" Target="../embeddings/Microsoft_Word_Document2.docx"/><Relationship Id="rId4" Type="http://schemas.openxmlformats.org/officeDocument/2006/relationships/image" Target="../media/image8.w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vmlDrawing" Target="../drawings/vmlDrawing23.vml"/><Relationship Id="rId5" Type="http://schemas.openxmlformats.org/officeDocument/2006/relationships/image" Target="../media/image12.wmf"/><Relationship Id="rId4" Type="http://schemas.openxmlformats.org/officeDocument/2006/relationships/package" Target="../embeddings/Microsoft_Excel_Worksheet3.xlsx"/></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25.xml"/></Relationships>
</file>

<file path=ppt/slides/_rels/slide3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25.vml"/><Relationship Id="rId6" Type="http://schemas.openxmlformats.org/officeDocument/2006/relationships/oleObject" Target="../embeddings/oleObject23.bin"/><Relationship Id="rId5" Type="http://schemas.openxmlformats.org/officeDocument/2006/relationships/notesSlide" Target="../notesSlides/notesSlide27.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notesSlide" Target="../notesSlides/notesSlide29.xml"/></Relationships>
</file>

<file path=ppt/slides/_rels/slide49.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30.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vmlDrawing" Target="../drawings/vmlDrawing29.vml"/><Relationship Id="rId4" Type="http://schemas.openxmlformats.org/officeDocument/2006/relationships/image" Target="../media/image15.wmf"/></Relationships>
</file>

<file path=ppt/slides/_rels/slide52.xml.rels><?xml version="1.0" encoding="UTF-8" standalone="yes"?>
<Relationships xmlns="http://schemas.openxmlformats.org/package/2006/relationships"><Relationship Id="rId3" Type="http://schemas.openxmlformats.org/officeDocument/2006/relationships/hyperlink" Target="Erfassungsblatt.pdf" TargetMode="External"/><Relationship Id="rId2" Type="http://schemas.openxmlformats.org/officeDocument/2006/relationships/slideLayout" Target="../slideLayouts/slideLayout3.xml"/><Relationship Id="rId1" Type="http://schemas.openxmlformats.org/officeDocument/2006/relationships/vmlDrawing" Target="../drawings/vmlDrawing30.vml"/><Relationship Id="rId5" Type="http://schemas.openxmlformats.org/officeDocument/2006/relationships/image" Target="../media/image16.w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1715" y="432755"/>
            <a:ext cx="7676414" cy="2428874"/>
          </a:xfrm>
        </p:spPr>
        <p:txBody>
          <a:bodyPr>
            <a:normAutofit/>
          </a:bodyPr>
          <a:lstStyle/>
          <a:p>
            <a:r>
              <a:rPr lang="de-DE" sz="5400" dirty="0">
                <a:solidFill>
                  <a:srgbClr val="572381"/>
                </a:solidFill>
                <a:latin typeface="Calibri" panose="020F0502020204030204" pitchFamily="34" charset="0"/>
                <a:cs typeface="Calibri" panose="020F0502020204030204" pitchFamily="34" charset="0"/>
              </a:rPr>
              <a:t>Informationsveranstaltung</a:t>
            </a:r>
            <a:br>
              <a:rPr lang="de-DE" sz="5400" dirty="0">
                <a:solidFill>
                  <a:srgbClr val="572381"/>
                </a:solidFill>
                <a:latin typeface="Calibri" panose="020F0502020204030204" pitchFamily="34" charset="0"/>
                <a:cs typeface="Calibri" panose="020F0502020204030204" pitchFamily="34" charset="0"/>
              </a:rPr>
            </a:br>
            <a:r>
              <a:rPr lang="de-DE" sz="5400" dirty="0">
                <a:solidFill>
                  <a:srgbClr val="572381"/>
                </a:solidFill>
                <a:latin typeface="Calibri" panose="020F0502020204030204" pitchFamily="34" charset="0"/>
                <a:cs typeface="Calibri" panose="020F0502020204030204" pitchFamily="34" charset="0"/>
              </a:rPr>
              <a:t>Umsatzsteuer</a:t>
            </a:r>
          </a:p>
        </p:txBody>
      </p:sp>
      <p:sp>
        <p:nvSpPr>
          <p:cNvPr id="3" name="Subtitle 2"/>
          <p:cNvSpPr>
            <a:spLocks noGrp="1"/>
          </p:cNvSpPr>
          <p:nvPr>
            <p:ph type="subTitle" idx="1"/>
          </p:nvPr>
        </p:nvSpPr>
        <p:spPr>
          <a:xfrm>
            <a:off x="496838" y="3732722"/>
            <a:ext cx="5489380" cy="594360"/>
          </a:xfrm>
        </p:spPr>
        <p:txBody>
          <a:bodyPr/>
          <a:lstStyle/>
          <a:p>
            <a:r>
              <a:rPr lang="de-DE" dirty="0" smtClean="0">
                <a:latin typeface="Calibri" panose="020F0502020204030204" pitchFamily="34" charset="0"/>
                <a:cs typeface="Calibri" panose="020F0502020204030204" pitchFamily="34" charset="0"/>
              </a:rPr>
              <a:t>4. Quartal </a:t>
            </a:r>
            <a:r>
              <a:rPr lang="de-DE" dirty="0">
                <a:latin typeface="Calibri" panose="020F0502020204030204" pitchFamily="34" charset="0"/>
                <a:cs typeface="Calibri" panose="020F0502020204030204" pitchFamily="34" charset="0"/>
              </a:rPr>
              <a:t>2020</a:t>
            </a:r>
          </a:p>
        </p:txBody>
      </p:sp>
      <p:pic>
        <p:nvPicPr>
          <p:cNvPr id="5" name="Picture 4">
            <a:extLst>
              <a:ext uri="{FF2B5EF4-FFF2-40B4-BE49-F238E27FC236}">
                <a16:creationId xmlns:a16="http://schemas.microsoft.com/office/drawing/2014/main" xmlns="" id="{53113F79-E285-40FF-B48D-F6CA1A8219D1}"/>
              </a:ext>
            </a:extLst>
          </p:cNvPr>
          <p:cNvPicPr>
            <a:picLocks noChangeAspect="1"/>
          </p:cNvPicPr>
          <p:nvPr/>
        </p:nvPicPr>
        <p:blipFill>
          <a:blip r:embed="rId3"/>
          <a:stretch>
            <a:fillRect/>
          </a:stretch>
        </p:blipFill>
        <p:spPr>
          <a:xfrm>
            <a:off x="365520" y="4296911"/>
            <a:ext cx="1833119" cy="1827882"/>
          </a:xfrm>
          <a:prstGeom prst="rect">
            <a:avLst/>
          </a:prstGeom>
        </p:spPr>
      </p:pic>
    </p:spTree>
    <p:extLst>
      <p:ext uri="{BB962C8B-B14F-4D97-AF65-F5344CB8AC3E}">
        <p14:creationId xmlns:p14="http://schemas.microsoft.com/office/powerpoint/2010/main" val="16333309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7272"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70" name="Flowchart: Process 69">
            <a:extLst>
              <a:ext uri="{FF2B5EF4-FFF2-40B4-BE49-F238E27FC236}">
                <a16:creationId xmlns:a16="http://schemas.microsoft.com/office/drawing/2014/main" xmlns="" id="{EA0D0DEB-4277-4E1D-AFE7-BCADA77E699C}"/>
              </a:ext>
            </a:extLst>
          </p:cNvPr>
          <p:cNvSpPr/>
          <p:nvPr/>
        </p:nvSpPr>
        <p:spPr>
          <a:xfrm>
            <a:off x="412209" y="2253304"/>
            <a:ext cx="577650" cy="576000"/>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b="1" dirty="0">
              <a:solidFill>
                <a:schemeClr val="accent3"/>
              </a:solidFill>
              <a:latin typeface="Calibri" panose="020F0502020204030204" pitchFamily="34" charset="0"/>
              <a:cs typeface="Calibri" panose="020F0502020204030204" pitchFamily="34" charset="0"/>
            </a:endParaRPr>
          </a:p>
        </p:txBody>
      </p:sp>
      <p:sp>
        <p:nvSpPr>
          <p:cNvPr id="13" name="Title 1">
            <a:extLst>
              <a:ext uri="{FF2B5EF4-FFF2-40B4-BE49-F238E27FC236}">
                <a16:creationId xmlns:a16="http://schemas.microsoft.com/office/drawing/2014/main" xmlns="" id="{A9BDD5F1-00B1-4BBD-80A1-AD0E8379F4E7}"/>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1" name="Slide Number Placeholder 8">
            <a:extLst>
              <a:ext uri="{FF2B5EF4-FFF2-40B4-BE49-F238E27FC236}">
                <a16:creationId xmlns:a16="http://schemas.microsoft.com/office/drawing/2014/main" xmlns="" id="{B60CFDCC-D4EB-4E1C-9C9A-2CD90EA4DDA0}"/>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grpSp>
        <p:nvGrpSpPr>
          <p:cNvPr id="3" name="Group 2">
            <a:extLst>
              <a:ext uri="{FF2B5EF4-FFF2-40B4-BE49-F238E27FC236}">
                <a16:creationId xmlns:a16="http://schemas.microsoft.com/office/drawing/2014/main" xmlns="" id="{EE08C8AD-7BFC-4D7A-AD97-95F00AA29E1A}"/>
              </a:ext>
            </a:extLst>
          </p:cNvPr>
          <p:cNvGrpSpPr/>
          <p:nvPr/>
        </p:nvGrpSpPr>
        <p:grpSpPr>
          <a:xfrm>
            <a:off x="678989" y="1506953"/>
            <a:ext cx="10884525" cy="4707469"/>
            <a:chOff x="461359" y="2221066"/>
            <a:chExt cx="10431445" cy="2943822"/>
          </a:xfrm>
          <a:solidFill>
            <a:schemeClr val="tx2">
              <a:lumMod val="20000"/>
              <a:lumOff val="80000"/>
            </a:schemeClr>
          </a:solidFill>
        </p:grpSpPr>
        <p:sp>
          <p:nvSpPr>
            <p:cNvPr id="61" name="Rechteck 24">
              <a:extLst>
                <a:ext uri="{FF2B5EF4-FFF2-40B4-BE49-F238E27FC236}">
                  <a16:creationId xmlns:a16="http://schemas.microsoft.com/office/drawing/2014/main" xmlns="" id="{8D6A0ED6-45BA-42BF-B8AE-FB601C9237B7}"/>
                </a:ext>
              </a:extLst>
            </p:cNvPr>
            <p:cNvSpPr/>
            <p:nvPr/>
          </p:nvSpPr>
          <p:spPr>
            <a:xfrm>
              <a:off x="461360" y="2423515"/>
              <a:ext cx="10431444" cy="27413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marL="0" lvl="1">
                <a:spcAft>
                  <a:spcPts val="600"/>
                </a:spcAft>
                <a:buClr>
                  <a:schemeClr val="accent3"/>
                </a:buClr>
              </a:pPr>
              <a:r>
                <a:rPr lang="de-DE" sz="2000" dirty="0">
                  <a:solidFill>
                    <a:srgbClr val="572381"/>
                  </a:solidFill>
                  <a:latin typeface="Calibri" panose="020F0502020204030204" pitchFamily="34" charset="0"/>
                  <a:cs typeface="Calibri" panose="020F0502020204030204" pitchFamily="34" charset="0"/>
                  <a:sym typeface="Wingdings" panose="05000000000000000000" pitchFamily="2" charset="2"/>
                </a:rPr>
                <a:t>Juristische Personen des öffentlichen Rechts gelten nicht als Unternehmer … soweit sie Tätigkeiten ausüben, die ihnen </a:t>
              </a:r>
              <a:r>
                <a:rPr lang="de-DE" sz="2000" b="1" dirty="0">
                  <a:solidFill>
                    <a:srgbClr val="572381"/>
                  </a:solidFill>
                  <a:latin typeface="Calibri" panose="020F0502020204030204" pitchFamily="34" charset="0"/>
                  <a:cs typeface="Calibri" panose="020F0502020204030204" pitchFamily="34" charset="0"/>
                  <a:sym typeface="Wingdings" panose="05000000000000000000" pitchFamily="2" charset="2"/>
                </a:rPr>
                <a:t>im Rahmen der öffentlichen Gewalt </a:t>
              </a:r>
              <a:r>
                <a:rPr lang="de-DE" sz="2000" dirty="0">
                  <a:solidFill>
                    <a:srgbClr val="572381"/>
                  </a:solidFill>
                  <a:latin typeface="Calibri" panose="020F0502020204030204" pitchFamily="34" charset="0"/>
                  <a:cs typeface="Calibri" panose="020F0502020204030204" pitchFamily="34" charset="0"/>
                  <a:sym typeface="Wingdings" panose="05000000000000000000" pitchFamily="2" charset="2"/>
                </a:rPr>
                <a:t>obliegen. Es sei denn dies führt zu </a:t>
              </a:r>
              <a:r>
                <a:rPr lang="de-DE" sz="2000" b="1" dirty="0">
                  <a:solidFill>
                    <a:srgbClr val="572381"/>
                  </a:solidFill>
                  <a:latin typeface="Calibri" panose="020F0502020204030204" pitchFamily="34" charset="0"/>
                  <a:cs typeface="Calibri" panose="020F0502020204030204" pitchFamily="34" charset="0"/>
                  <a:sym typeface="Wingdings" panose="05000000000000000000" pitchFamily="2" charset="2"/>
                </a:rPr>
                <a:t>größeren Wettbewerbsverzerrungen</a:t>
              </a:r>
              <a:r>
                <a:rPr lang="de-DE" sz="2000" dirty="0">
                  <a:solidFill>
                    <a:srgbClr val="572381"/>
                  </a:solidFill>
                  <a:latin typeface="Calibri" panose="020F0502020204030204" pitchFamily="34" charset="0"/>
                  <a:cs typeface="Calibri" panose="020F0502020204030204" pitchFamily="34" charset="0"/>
                  <a:sym typeface="Wingdings" panose="05000000000000000000" pitchFamily="2" charset="2"/>
                </a:rPr>
                <a:t>.</a:t>
              </a:r>
            </a:p>
            <a:p>
              <a:pPr marL="0" lvl="1">
                <a:spcAft>
                  <a:spcPts val="600"/>
                </a:spcAft>
                <a:buClr>
                  <a:schemeClr val="accent3"/>
                </a:buClr>
              </a:pPr>
              <a:endParaRPr lang="de-DE" sz="1600" dirty="0">
                <a:solidFill>
                  <a:srgbClr val="572381"/>
                </a:solidFill>
                <a:latin typeface="Calibri" panose="020F0502020204030204" pitchFamily="34" charset="0"/>
                <a:cs typeface="Calibri" panose="020F0502020204030204" pitchFamily="34" charset="0"/>
                <a:sym typeface="Wingdings" panose="05000000000000000000" pitchFamily="2" charset="2"/>
              </a:endParaRPr>
            </a:p>
            <a:p>
              <a:pPr marL="0" lvl="1">
                <a:spcAft>
                  <a:spcPts val="600"/>
                </a:spcAft>
                <a:buClr>
                  <a:schemeClr val="accent3"/>
                </a:buClr>
              </a:pPr>
              <a:r>
                <a:rPr lang="de-DE" sz="2000" b="1" u="sng" dirty="0">
                  <a:solidFill>
                    <a:srgbClr val="572381"/>
                  </a:solidFill>
                  <a:latin typeface="Calibri" panose="020F0502020204030204" pitchFamily="34" charset="0"/>
                  <a:cs typeface="Calibri" panose="020F0502020204030204" pitchFamily="34" charset="0"/>
                  <a:sym typeface="Wingdings" panose="05000000000000000000" pitchFamily="2" charset="2"/>
                </a:rPr>
                <a:t>Was bedeutet „im Rahmen der öffentlichen Gewalt“?</a:t>
              </a:r>
            </a:p>
            <a:p>
              <a:pPr marL="0" lvl="1">
                <a:spcAft>
                  <a:spcPts val="1200"/>
                </a:spcAft>
                <a:buClr>
                  <a:schemeClr val="accent3"/>
                </a:buClr>
              </a:pPr>
              <a:r>
                <a:rPr lang="de-DE" sz="2000" dirty="0">
                  <a:solidFill>
                    <a:srgbClr val="572381"/>
                  </a:solidFill>
                  <a:latin typeface="Calibri" panose="020F0502020204030204" pitchFamily="34" charset="0"/>
                  <a:cs typeface="Calibri" panose="020F0502020204030204" pitchFamily="34" charset="0"/>
                  <a:sym typeface="Wingdings" panose="05000000000000000000" pitchFamily="2" charset="2"/>
                </a:rPr>
                <a:t>Grundlage der Tätigkeit und der Einnahme muss öffentlich-rechtliche Sondervorschrift sein (Gesetz, Rechtsverordnung, öffentlich-rechtlicher Vertrag oder Gebührensatzung)</a:t>
              </a:r>
            </a:p>
            <a:p>
              <a:pPr marL="0" lvl="1">
                <a:spcAft>
                  <a:spcPts val="600"/>
                </a:spcAft>
                <a:buClr>
                  <a:schemeClr val="accent3"/>
                </a:buClr>
              </a:pPr>
              <a:r>
                <a:rPr lang="de-DE" sz="2000" b="1" u="sng" dirty="0">
                  <a:solidFill>
                    <a:srgbClr val="572381"/>
                  </a:solidFill>
                  <a:latin typeface="Calibri" panose="020F0502020204030204" pitchFamily="34" charset="0"/>
                  <a:cs typeface="Calibri" panose="020F0502020204030204" pitchFamily="34" charset="0"/>
                  <a:sym typeface="Wingdings" panose="05000000000000000000" pitchFamily="2" charset="2"/>
                </a:rPr>
                <a:t>Beispiele:</a:t>
              </a:r>
              <a:r>
                <a:rPr lang="de-DE" sz="2000" u="sng" dirty="0">
                  <a:solidFill>
                    <a:srgbClr val="572381"/>
                  </a:solidFill>
                  <a:latin typeface="Calibri" panose="020F0502020204030204" pitchFamily="34" charset="0"/>
                  <a:cs typeface="Calibri" panose="020F0502020204030204" pitchFamily="34" charset="0"/>
                  <a:sym typeface="Wingdings" panose="05000000000000000000" pitchFamily="2" charset="2"/>
                </a:rPr>
                <a:t> </a:t>
              </a:r>
            </a:p>
            <a:p>
              <a:pPr marL="0" lvl="1">
                <a:spcAft>
                  <a:spcPts val="600"/>
                </a:spcAft>
                <a:buClr>
                  <a:schemeClr val="accent3"/>
                </a:buClr>
              </a:pPr>
              <a:r>
                <a:rPr lang="de-DE" sz="2000" i="1" dirty="0">
                  <a:solidFill>
                    <a:srgbClr val="572381"/>
                  </a:solidFill>
                  <a:latin typeface="Calibri" panose="020F0502020204030204" pitchFamily="34" charset="0"/>
                  <a:cs typeface="Calibri" panose="020F0502020204030204" pitchFamily="34" charset="0"/>
                  <a:sym typeface="Wingdings" panose="05000000000000000000" pitchFamily="2" charset="2"/>
                </a:rPr>
                <a:t>Kindergarten (</a:t>
              </a:r>
              <a:r>
                <a:rPr lang="de-DE" sz="2000" i="1" dirty="0" err="1">
                  <a:solidFill>
                    <a:srgbClr val="572381"/>
                  </a:solidFill>
                  <a:latin typeface="Calibri" panose="020F0502020204030204" pitchFamily="34" charset="0"/>
                  <a:cs typeface="Calibri" panose="020F0502020204030204" pitchFamily="34" charset="0"/>
                  <a:sym typeface="Wingdings" panose="05000000000000000000" pitchFamily="2" charset="2"/>
                </a:rPr>
                <a:t>KiTaVO</a:t>
              </a:r>
              <a:r>
                <a:rPr lang="de-DE" sz="2000" i="1" dirty="0">
                  <a:solidFill>
                    <a:srgbClr val="572381"/>
                  </a:solidFill>
                  <a:latin typeface="Calibri" panose="020F0502020204030204" pitchFamily="34" charset="0"/>
                  <a:cs typeface="Calibri" panose="020F0502020204030204" pitchFamily="34" charset="0"/>
                  <a:sym typeface="Wingdings" panose="05000000000000000000" pitchFamily="2" charset="2"/>
                </a:rPr>
                <a:t>, weil aber die konkrete Einnahme privatrechtlich ist, greift § 2b UStG nicht)</a:t>
              </a:r>
            </a:p>
            <a:p>
              <a:pPr marL="0" lvl="1">
                <a:spcAft>
                  <a:spcPts val="600"/>
                </a:spcAft>
                <a:buClr>
                  <a:schemeClr val="accent3"/>
                </a:buClr>
              </a:pPr>
              <a:r>
                <a:rPr lang="de-DE" sz="2000" i="1" dirty="0">
                  <a:solidFill>
                    <a:srgbClr val="572381"/>
                  </a:solidFill>
                  <a:latin typeface="Calibri" panose="020F0502020204030204" pitchFamily="34" charset="0"/>
                  <a:cs typeface="Calibri" panose="020F0502020204030204" pitchFamily="34" charset="0"/>
                  <a:sym typeface="Wingdings" panose="05000000000000000000" pitchFamily="2" charset="2"/>
                </a:rPr>
                <a:t>Kirchengemeindliche Verwaltung (gemeinsames Gemeindebüro) im künftigen Recht im </a:t>
              </a:r>
              <a:r>
                <a:rPr lang="de-DE" sz="2000" i="1" dirty="0" err="1">
                  <a:solidFill>
                    <a:srgbClr val="572381"/>
                  </a:solidFill>
                  <a:latin typeface="Calibri" panose="020F0502020204030204" pitchFamily="34" charset="0"/>
                  <a:cs typeface="Calibri" panose="020F0502020204030204" pitchFamily="34" charset="0"/>
                  <a:sym typeface="Wingdings" panose="05000000000000000000" pitchFamily="2" charset="2"/>
                </a:rPr>
                <a:t>Regionalisierungsgesetz</a:t>
              </a:r>
              <a:r>
                <a:rPr lang="de-DE" sz="2000" i="1" dirty="0">
                  <a:solidFill>
                    <a:srgbClr val="572381"/>
                  </a:solidFill>
                  <a:latin typeface="Calibri" panose="020F0502020204030204" pitchFamily="34" charset="0"/>
                  <a:cs typeface="Calibri" panose="020F0502020204030204" pitchFamily="34" charset="0"/>
                  <a:sym typeface="Wingdings" panose="05000000000000000000" pitchFamily="2" charset="2"/>
                </a:rPr>
                <a:t> (</a:t>
              </a:r>
              <a:r>
                <a:rPr lang="de-DE" sz="2000" i="1" dirty="0" err="1">
                  <a:solidFill>
                    <a:srgbClr val="572381"/>
                  </a:solidFill>
                  <a:latin typeface="Calibri" panose="020F0502020204030204" pitchFamily="34" charset="0"/>
                  <a:cs typeface="Calibri" panose="020F0502020204030204" pitchFamily="34" charset="0"/>
                  <a:sym typeface="Wingdings" panose="05000000000000000000" pitchFamily="2" charset="2"/>
                </a:rPr>
                <a:t>RegG</a:t>
              </a:r>
              <a:r>
                <a:rPr lang="de-DE" sz="2000" i="1" dirty="0">
                  <a:solidFill>
                    <a:srgbClr val="572381"/>
                  </a:solidFill>
                  <a:latin typeface="Calibri" panose="020F0502020204030204" pitchFamily="34" charset="0"/>
                  <a:cs typeface="Calibri" panose="020F0502020204030204" pitchFamily="34" charset="0"/>
                  <a:sym typeface="Wingdings" panose="05000000000000000000" pitchFamily="2" charset="2"/>
                </a:rPr>
                <a:t>) und durch öffentlich-rechtlichen Vertrag geregelt</a:t>
              </a:r>
            </a:p>
          </p:txBody>
        </p:sp>
        <p:sp>
          <p:nvSpPr>
            <p:cNvPr id="62" name="Rechteck 22">
              <a:extLst>
                <a:ext uri="{FF2B5EF4-FFF2-40B4-BE49-F238E27FC236}">
                  <a16:creationId xmlns:a16="http://schemas.microsoft.com/office/drawing/2014/main" xmlns="" id="{27E1C1FA-1D5B-48E5-9C1D-70C2C9C9B71F}"/>
                </a:ext>
              </a:extLst>
            </p:cNvPr>
            <p:cNvSpPr/>
            <p:nvPr/>
          </p:nvSpPr>
          <p:spPr>
            <a:xfrm>
              <a:off x="461359" y="2221066"/>
              <a:ext cx="10431445" cy="261942"/>
            </a:xfrm>
            <a:prstGeom prst="rect">
              <a:avLst/>
            </a:prstGeom>
            <a:solidFill>
              <a:srgbClr val="5D0B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chemeClr val="bg1"/>
                  </a:solidFill>
                  <a:latin typeface="Calibri" panose="020F0502020204030204" pitchFamily="34" charset="0"/>
                  <a:cs typeface="Calibri" panose="020F0502020204030204" pitchFamily="34" charset="0"/>
                </a:rPr>
                <a:t>Sonderregelung für juristische Personen des öffentlichen Rechts (Auszug § 2b UStG)</a:t>
              </a:r>
            </a:p>
          </p:txBody>
        </p:sp>
      </p:grpSp>
      <p:sp>
        <p:nvSpPr>
          <p:cNvPr id="12" name="Date Placeholder 11">
            <a:extLst>
              <a:ext uri="{FF2B5EF4-FFF2-40B4-BE49-F238E27FC236}">
                <a16:creationId xmlns:a16="http://schemas.microsoft.com/office/drawing/2014/main" xmlns="" id="{67CAD1B1-1B53-4DF5-9CEA-59582C23434A}"/>
              </a:ext>
            </a:extLst>
          </p:cNvPr>
          <p:cNvSpPr>
            <a:spLocks noGrp="1"/>
          </p:cNvSpPr>
          <p:nvPr>
            <p:ph type="dt" sz="half" idx="10"/>
          </p:nvPr>
        </p:nvSpPr>
        <p:spPr/>
        <p:txBody>
          <a:bodyPr/>
          <a:lstStyle/>
          <a:p>
            <a:fld id="{316F30E6-2154-4FEC-8CC1-62CCF16EDF91}" type="datetime1">
              <a:rPr lang="de-DE" smtClean="0"/>
              <a:t>06.07.2021</a:t>
            </a:fld>
            <a:endParaRPr lang="de-DE" dirty="0"/>
          </a:p>
        </p:txBody>
      </p:sp>
      <p:sp>
        <p:nvSpPr>
          <p:cNvPr id="19" name="Footer Placeholder 18">
            <a:extLst>
              <a:ext uri="{FF2B5EF4-FFF2-40B4-BE49-F238E27FC236}">
                <a16:creationId xmlns:a16="http://schemas.microsoft.com/office/drawing/2014/main" xmlns="" id="{07A84386-C6C4-4C1C-A906-FDC416943E65}"/>
              </a:ext>
            </a:extLst>
          </p:cNvPr>
          <p:cNvSpPr>
            <a:spLocks noGrp="1"/>
          </p:cNvSpPr>
          <p:nvPr>
            <p:ph type="ftr" sz="quarter" idx="11"/>
          </p:nvPr>
        </p:nvSpPr>
        <p:spPr/>
        <p:txBody>
          <a:bodyPr/>
          <a:lstStyle/>
          <a:p>
            <a:r>
              <a:rPr lang="de-DE" dirty="0"/>
              <a:t>EKHN</a:t>
            </a:r>
          </a:p>
        </p:txBody>
      </p:sp>
      <p:sp>
        <p:nvSpPr>
          <p:cNvPr id="2" name="Titel 1"/>
          <p:cNvSpPr>
            <a:spLocks noGrp="1"/>
          </p:cNvSpPr>
          <p:nvPr>
            <p:ph type="title"/>
          </p:nvPr>
        </p:nvSpPr>
        <p:spPr>
          <a:xfrm>
            <a:off x="928886" y="641497"/>
            <a:ext cx="6455656" cy="576064"/>
          </a:xfrm>
        </p:spPr>
        <p:txBody>
          <a:bodyPr/>
          <a:lstStyle/>
          <a:p>
            <a:r>
              <a:rPr lang="de-DE" dirty="0">
                <a:latin typeface="Calibri" panose="020F0502020204030204" pitchFamily="34" charset="0"/>
                <a:cs typeface="Calibri" panose="020F0502020204030204" pitchFamily="34" charset="0"/>
              </a:rPr>
              <a:t>Die Kirche gilt grundsätzlich als Unternehmerin – mit Ausnahmen § 2b </a:t>
            </a:r>
            <a:r>
              <a:rPr lang="de-DE" dirty="0" smtClean="0">
                <a:latin typeface="Calibri" panose="020F0502020204030204" pitchFamily="34" charset="0"/>
                <a:cs typeface="Calibri" panose="020F0502020204030204" pitchFamily="34" charset="0"/>
              </a:rPr>
              <a:t>UStG</a:t>
            </a:r>
            <a:endParaRPr lang="de-DE" dirty="0"/>
          </a:p>
        </p:txBody>
      </p:sp>
      <p:sp>
        <p:nvSpPr>
          <p:cNvPr id="6" name="Foliennummernplatzhalter 5"/>
          <p:cNvSpPr>
            <a:spLocks noGrp="1"/>
          </p:cNvSpPr>
          <p:nvPr>
            <p:ph type="sldNum" sz="quarter" idx="12"/>
          </p:nvPr>
        </p:nvSpPr>
        <p:spPr/>
        <p:txBody>
          <a:bodyPr/>
          <a:lstStyle/>
          <a:p>
            <a:pPr>
              <a:defRPr/>
            </a:pPr>
            <a:fld id="{BEA88772-2E14-493F-A726-E8A7A8CFB7CD}" type="slidenum">
              <a:rPr lang="de-DE" altLang="en-US" smtClean="0"/>
              <a:pPr>
                <a:defRPr/>
              </a:pPr>
              <a:t>10</a:t>
            </a:fld>
            <a:endParaRPr lang="de-DE" altLang="en-US"/>
          </a:p>
        </p:txBody>
      </p:sp>
    </p:spTree>
    <p:extLst>
      <p:ext uri="{BB962C8B-B14F-4D97-AF65-F5344CB8AC3E}">
        <p14:creationId xmlns:p14="http://schemas.microsoft.com/office/powerpoint/2010/main" val="39375746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8296"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de-DE" sz="3200" dirty="0">
              <a:latin typeface="Georgia" panose="02040502050405020303" pitchFamily="18" charset="0"/>
              <a:ea typeface="+mj-ea"/>
              <a:cs typeface="+mj-cs"/>
              <a:sym typeface="Georgia" panose="02040502050405020303" pitchFamily="18" charset="0"/>
            </a:endParaRPr>
          </a:p>
        </p:txBody>
      </p:sp>
      <p:sp>
        <p:nvSpPr>
          <p:cNvPr id="49" name="Oval 48">
            <a:extLst>
              <a:ext uri="{FF2B5EF4-FFF2-40B4-BE49-F238E27FC236}">
                <a16:creationId xmlns:a16="http://schemas.microsoft.com/office/drawing/2014/main" xmlns="" id="{6D385BF6-8861-4947-8C12-073F13F89E50}"/>
              </a:ext>
            </a:extLst>
          </p:cNvPr>
          <p:cNvSpPr/>
          <p:nvPr/>
        </p:nvSpPr>
        <p:spPr>
          <a:xfrm>
            <a:off x="3732535" y="2472844"/>
            <a:ext cx="633324" cy="240597"/>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dirty="0"/>
          </a:p>
        </p:txBody>
      </p:sp>
      <p:grpSp>
        <p:nvGrpSpPr>
          <p:cNvPr id="9" name="Group 8">
            <a:extLst>
              <a:ext uri="{FF2B5EF4-FFF2-40B4-BE49-F238E27FC236}">
                <a16:creationId xmlns:a16="http://schemas.microsoft.com/office/drawing/2014/main" xmlns="" id="{B5B3AF5F-4B5C-414B-A208-15DDD4F8BFBD}"/>
              </a:ext>
            </a:extLst>
          </p:cNvPr>
          <p:cNvGrpSpPr/>
          <p:nvPr/>
        </p:nvGrpSpPr>
        <p:grpSpPr>
          <a:xfrm>
            <a:off x="2700782" y="1630527"/>
            <a:ext cx="6784495" cy="1259261"/>
            <a:chOff x="2276270" y="1704488"/>
            <a:chExt cx="6765116" cy="1259261"/>
          </a:xfrm>
        </p:grpSpPr>
        <p:grpSp>
          <p:nvGrpSpPr>
            <p:cNvPr id="8" name="Group 7">
              <a:extLst>
                <a:ext uri="{FF2B5EF4-FFF2-40B4-BE49-F238E27FC236}">
                  <a16:creationId xmlns:a16="http://schemas.microsoft.com/office/drawing/2014/main" xmlns="" id="{2F0CD9B2-2F24-4683-95A6-4F3245678954}"/>
                </a:ext>
              </a:extLst>
            </p:cNvPr>
            <p:cNvGrpSpPr/>
            <p:nvPr/>
          </p:nvGrpSpPr>
          <p:grpSpPr>
            <a:xfrm>
              <a:off x="2972703" y="2183906"/>
              <a:ext cx="4906554" cy="779843"/>
              <a:chOff x="6424071" y="1823131"/>
              <a:chExt cx="4906554" cy="779843"/>
            </a:xfrm>
          </p:grpSpPr>
          <p:sp>
            <p:nvSpPr>
              <p:cNvPr id="51" name="Rectangle: Rounded Corners 50">
                <a:extLst>
                  <a:ext uri="{FF2B5EF4-FFF2-40B4-BE49-F238E27FC236}">
                    <a16:creationId xmlns:a16="http://schemas.microsoft.com/office/drawing/2014/main" xmlns="" id="{F4CEB11D-A300-421F-BB67-2B29749D36AA}"/>
                  </a:ext>
                </a:extLst>
              </p:cNvPr>
              <p:cNvSpPr/>
              <p:nvPr/>
            </p:nvSpPr>
            <p:spPr>
              <a:xfrm>
                <a:off x="6424071" y="1823131"/>
                <a:ext cx="882431"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52" name="Rectangle 51">
                <a:extLst>
                  <a:ext uri="{FF2B5EF4-FFF2-40B4-BE49-F238E27FC236}">
                    <a16:creationId xmlns:a16="http://schemas.microsoft.com/office/drawing/2014/main" xmlns="" id="{BED3FE9C-C8E6-42CD-B13E-7F1631398D1E}"/>
                  </a:ext>
                </a:extLst>
              </p:cNvPr>
              <p:cNvSpPr/>
              <p:nvPr/>
            </p:nvSpPr>
            <p:spPr>
              <a:xfrm>
                <a:off x="6865287" y="18231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Entgeltliche Leistung = Wettbewerbsverzerrung</a:t>
                </a:r>
              </a:p>
            </p:txBody>
          </p:sp>
        </p:grpSp>
        <p:grpSp>
          <p:nvGrpSpPr>
            <p:cNvPr id="16" name="Group 15">
              <a:extLst>
                <a:ext uri="{FF2B5EF4-FFF2-40B4-BE49-F238E27FC236}">
                  <a16:creationId xmlns:a16="http://schemas.microsoft.com/office/drawing/2014/main" xmlns="" id="{BC238505-0A1A-4E40-91A7-9B606331DE56}"/>
                </a:ext>
              </a:extLst>
            </p:cNvPr>
            <p:cNvGrpSpPr/>
            <p:nvPr/>
          </p:nvGrpSpPr>
          <p:grpSpPr>
            <a:xfrm>
              <a:off x="2276270" y="1704488"/>
              <a:ext cx="6765116" cy="338940"/>
              <a:chOff x="759681" y="2280475"/>
              <a:chExt cx="5438051" cy="338940"/>
            </a:xfrm>
          </p:grpSpPr>
          <p:sp>
            <p:nvSpPr>
              <p:cNvPr id="69" name="Rectangle 68">
                <a:extLst>
                  <a:ext uri="{FF2B5EF4-FFF2-40B4-BE49-F238E27FC236}">
                    <a16:creationId xmlns:a16="http://schemas.microsoft.com/office/drawing/2014/main" xmlns="" id="{6FBA5717-1D10-45E9-8714-060FC5009F47}"/>
                  </a:ext>
                </a:extLst>
              </p:cNvPr>
              <p:cNvSpPr/>
              <p:nvPr/>
            </p:nvSpPr>
            <p:spPr>
              <a:xfrm>
                <a:off x="759681" y="2280475"/>
                <a:ext cx="5438051" cy="338554"/>
              </a:xfrm>
              <a:prstGeom prst="rect">
                <a:avLst/>
              </a:prstGeom>
            </p:spPr>
            <p:txBody>
              <a:bodyPr wrap="square">
                <a:spAutoFit/>
              </a:bodyPr>
              <a:lstStyle/>
              <a:p>
                <a:pPr algn="ctr"/>
                <a:r>
                  <a:rPr lang="de-DE" sz="1600" spc="300" dirty="0">
                    <a:solidFill>
                      <a:srgbClr val="572381"/>
                    </a:solidFill>
                    <a:latin typeface="Calibri" panose="020F0502020204030204" pitchFamily="34" charset="0"/>
                    <a:cs typeface="Calibri" panose="020F0502020204030204" pitchFamily="34" charset="0"/>
                  </a:rPr>
                  <a:t>Was bedeutet „Größere Wettbewerbsverzerrungen“? </a:t>
                </a:r>
              </a:p>
            </p:txBody>
          </p:sp>
          <p:cxnSp>
            <p:nvCxnSpPr>
              <p:cNvPr id="70" name="Straight Connector 69">
                <a:extLst>
                  <a:ext uri="{FF2B5EF4-FFF2-40B4-BE49-F238E27FC236}">
                    <a16:creationId xmlns:a16="http://schemas.microsoft.com/office/drawing/2014/main" xmlns="" id="{4133112E-5E3D-4F99-9107-EB10404B3FBE}"/>
                  </a:ext>
                </a:extLst>
              </p:cNvPr>
              <p:cNvCxnSpPr>
                <a:cxnSpLocks/>
              </p:cNvCxnSpPr>
              <p:nvPr/>
            </p:nvCxnSpPr>
            <p:spPr>
              <a:xfrm>
                <a:off x="759681" y="2619029"/>
                <a:ext cx="5236889" cy="386"/>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grpSp>
      <p:sp>
        <p:nvSpPr>
          <p:cNvPr id="45" name="Title 1">
            <a:extLst>
              <a:ext uri="{FF2B5EF4-FFF2-40B4-BE49-F238E27FC236}">
                <a16:creationId xmlns:a16="http://schemas.microsoft.com/office/drawing/2014/main" xmlns="" id="{33A23532-2BB5-4923-92EF-7A7AD39A232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1" name="Date Placeholder 10">
            <a:extLst>
              <a:ext uri="{FF2B5EF4-FFF2-40B4-BE49-F238E27FC236}">
                <a16:creationId xmlns:a16="http://schemas.microsoft.com/office/drawing/2014/main" xmlns="" id="{86F04E9F-881A-490D-BA73-72DA1698B5EC}"/>
              </a:ext>
            </a:extLst>
          </p:cNvPr>
          <p:cNvSpPr>
            <a:spLocks noGrp="1"/>
          </p:cNvSpPr>
          <p:nvPr>
            <p:ph type="dt" sz="half" idx="10"/>
          </p:nvPr>
        </p:nvSpPr>
        <p:spPr/>
        <p:txBody>
          <a:bodyPr/>
          <a:lstStyle/>
          <a:p>
            <a:fld id="{1C94A5BB-F6B0-401A-A8C9-CB84217C65C8}" type="datetime1">
              <a:rPr lang="de-DE" smtClean="0"/>
              <a:t>06.07.2021</a:t>
            </a:fld>
            <a:endParaRPr lang="de-DE" dirty="0"/>
          </a:p>
        </p:txBody>
      </p:sp>
      <p:sp>
        <p:nvSpPr>
          <p:cNvPr id="15" name="Footer Placeholder 14">
            <a:extLst>
              <a:ext uri="{FF2B5EF4-FFF2-40B4-BE49-F238E27FC236}">
                <a16:creationId xmlns:a16="http://schemas.microsoft.com/office/drawing/2014/main" xmlns="" id="{75304930-7B4A-4AAA-BE91-5A21D20D6144}"/>
              </a:ext>
            </a:extLst>
          </p:cNvPr>
          <p:cNvSpPr>
            <a:spLocks noGrp="1"/>
          </p:cNvSpPr>
          <p:nvPr>
            <p:ph type="ftr" sz="quarter" idx="11"/>
          </p:nvPr>
        </p:nvSpPr>
        <p:spPr/>
        <p:txBody>
          <a:bodyPr/>
          <a:lstStyle/>
          <a:p>
            <a:r>
              <a:rPr lang="de-DE" dirty="0"/>
              <a:t>EKHN</a:t>
            </a:r>
          </a:p>
        </p:txBody>
      </p:sp>
      <p:sp>
        <p:nvSpPr>
          <p:cNvPr id="2" name="Slide Number Placeholder 1">
            <a:extLst>
              <a:ext uri="{FF2B5EF4-FFF2-40B4-BE49-F238E27FC236}">
                <a16:creationId xmlns:a16="http://schemas.microsoft.com/office/drawing/2014/main" xmlns="" id="{81B5D1A3-3D8F-4F2A-8231-198600E6C1E7}"/>
              </a:ext>
            </a:extLst>
          </p:cNvPr>
          <p:cNvSpPr>
            <a:spLocks noGrp="1"/>
          </p:cNvSpPr>
          <p:nvPr>
            <p:ph type="sldNum" sz="quarter" idx="12"/>
          </p:nvPr>
        </p:nvSpPr>
        <p:spPr/>
        <p:txBody>
          <a:bodyPr/>
          <a:lstStyle/>
          <a:p>
            <a:fld id="{1C198799-69ED-41F3-BD93-533E14B4A78A}" type="slidenum">
              <a:rPr lang="de-DE" smtClean="0"/>
              <a:pPr/>
              <a:t>11</a:t>
            </a:fld>
            <a:endParaRPr lang="de-DE" dirty="0"/>
          </a:p>
        </p:txBody>
      </p:sp>
      <p:grpSp>
        <p:nvGrpSpPr>
          <p:cNvPr id="3" name="Group 2">
            <a:extLst>
              <a:ext uri="{FF2B5EF4-FFF2-40B4-BE49-F238E27FC236}">
                <a16:creationId xmlns:a16="http://schemas.microsoft.com/office/drawing/2014/main" xmlns="" id="{7E0942C2-99D8-447E-A420-9ADDF8CFFA3A}"/>
              </a:ext>
            </a:extLst>
          </p:cNvPr>
          <p:cNvGrpSpPr/>
          <p:nvPr/>
        </p:nvGrpSpPr>
        <p:grpSpPr>
          <a:xfrm>
            <a:off x="2541314" y="3076338"/>
            <a:ext cx="6784495" cy="2156382"/>
            <a:chOff x="245357" y="3575696"/>
            <a:chExt cx="6765116" cy="2156382"/>
          </a:xfrm>
        </p:grpSpPr>
        <p:grpSp>
          <p:nvGrpSpPr>
            <p:cNvPr id="36" name="Group 35">
              <a:extLst>
                <a:ext uri="{FF2B5EF4-FFF2-40B4-BE49-F238E27FC236}">
                  <a16:creationId xmlns:a16="http://schemas.microsoft.com/office/drawing/2014/main" xmlns="" id="{EBE2BE6E-5474-462D-A8CB-4338BB76F242}"/>
                </a:ext>
              </a:extLst>
            </p:cNvPr>
            <p:cNvGrpSpPr/>
            <p:nvPr/>
          </p:nvGrpSpPr>
          <p:grpSpPr>
            <a:xfrm>
              <a:off x="1113042" y="4055114"/>
              <a:ext cx="4906554" cy="779843"/>
              <a:chOff x="6424071" y="1823131"/>
              <a:chExt cx="4906554" cy="779843"/>
            </a:xfrm>
          </p:grpSpPr>
          <p:sp>
            <p:nvSpPr>
              <p:cNvPr id="43" name="Rectangle: Rounded Corners 42">
                <a:extLst>
                  <a:ext uri="{FF2B5EF4-FFF2-40B4-BE49-F238E27FC236}">
                    <a16:creationId xmlns:a16="http://schemas.microsoft.com/office/drawing/2014/main" xmlns="" id="{B7000113-A1D6-4908-8B6B-E03C5211C2AA}"/>
                  </a:ext>
                </a:extLst>
              </p:cNvPr>
              <p:cNvSpPr/>
              <p:nvPr/>
            </p:nvSpPr>
            <p:spPr>
              <a:xfrm>
                <a:off x="6424071" y="1823131"/>
                <a:ext cx="882431"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44" name="Rectangle 43">
                <a:extLst>
                  <a:ext uri="{FF2B5EF4-FFF2-40B4-BE49-F238E27FC236}">
                    <a16:creationId xmlns:a16="http://schemas.microsoft.com/office/drawing/2014/main" xmlns="" id="{A6070B31-4327-4A18-A66D-49D1C58078A9}"/>
                  </a:ext>
                </a:extLst>
              </p:cNvPr>
              <p:cNvSpPr/>
              <p:nvPr/>
            </p:nvSpPr>
            <p:spPr>
              <a:xfrm>
                <a:off x="6865287" y="18231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Leistungen, die aufgrund gesetzlicher Bestimmungen nur von juristischen Personen des öffentlichen Rechts erbracht werden dürfen</a:t>
                </a:r>
              </a:p>
            </p:txBody>
          </p:sp>
        </p:grpSp>
        <p:grpSp>
          <p:nvGrpSpPr>
            <p:cNvPr id="46" name="Group 45">
              <a:extLst>
                <a:ext uri="{FF2B5EF4-FFF2-40B4-BE49-F238E27FC236}">
                  <a16:creationId xmlns:a16="http://schemas.microsoft.com/office/drawing/2014/main" xmlns="" id="{6263E6CE-13B9-4AF3-B459-D42C9E9E6FA8}"/>
                </a:ext>
              </a:extLst>
            </p:cNvPr>
            <p:cNvGrpSpPr/>
            <p:nvPr/>
          </p:nvGrpSpPr>
          <p:grpSpPr>
            <a:xfrm>
              <a:off x="245357" y="3575696"/>
              <a:ext cx="6765116" cy="338940"/>
              <a:chOff x="759681" y="2280475"/>
              <a:chExt cx="5438051" cy="338940"/>
            </a:xfrm>
          </p:grpSpPr>
          <p:sp>
            <p:nvSpPr>
              <p:cNvPr id="56" name="Rectangle 55">
                <a:extLst>
                  <a:ext uri="{FF2B5EF4-FFF2-40B4-BE49-F238E27FC236}">
                    <a16:creationId xmlns:a16="http://schemas.microsoft.com/office/drawing/2014/main" xmlns="" id="{2B5D7CB4-E23E-4ABB-86A4-1C1095C605F3}"/>
                  </a:ext>
                </a:extLst>
              </p:cNvPr>
              <p:cNvSpPr/>
              <p:nvPr/>
            </p:nvSpPr>
            <p:spPr>
              <a:xfrm>
                <a:off x="759681" y="2280475"/>
                <a:ext cx="5438051" cy="338554"/>
              </a:xfrm>
              <a:prstGeom prst="rect">
                <a:avLst/>
              </a:prstGeom>
            </p:spPr>
            <p:txBody>
              <a:bodyPr wrap="square">
                <a:spAutoFit/>
              </a:bodyPr>
              <a:lstStyle/>
              <a:p>
                <a:pPr algn="ctr"/>
                <a:r>
                  <a:rPr lang="de-DE" sz="1600" spc="300" dirty="0">
                    <a:solidFill>
                      <a:srgbClr val="572381"/>
                    </a:solidFill>
                    <a:latin typeface="Calibri" panose="020F0502020204030204" pitchFamily="34" charset="0"/>
                    <a:cs typeface="Calibri" panose="020F0502020204030204" pitchFamily="34" charset="0"/>
                  </a:rPr>
                  <a:t>Ausnahme: Regelbeispiele des § 2b UStG</a:t>
                </a:r>
              </a:p>
            </p:txBody>
          </p:sp>
          <p:cxnSp>
            <p:nvCxnSpPr>
              <p:cNvPr id="57" name="Straight Connector 56">
                <a:extLst>
                  <a:ext uri="{FF2B5EF4-FFF2-40B4-BE49-F238E27FC236}">
                    <a16:creationId xmlns:a16="http://schemas.microsoft.com/office/drawing/2014/main" xmlns="" id="{7D58D652-D974-4646-987D-7B178738BBCE}"/>
                  </a:ext>
                </a:extLst>
              </p:cNvPr>
              <p:cNvCxnSpPr>
                <a:cxnSpLocks/>
              </p:cNvCxnSpPr>
              <p:nvPr/>
            </p:nvCxnSpPr>
            <p:spPr>
              <a:xfrm>
                <a:off x="769520" y="2619029"/>
                <a:ext cx="5227050" cy="386"/>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grpSp>
          <p:nvGrpSpPr>
            <p:cNvPr id="58" name="Group 57">
              <a:extLst>
                <a:ext uri="{FF2B5EF4-FFF2-40B4-BE49-F238E27FC236}">
                  <a16:creationId xmlns:a16="http://schemas.microsoft.com/office/drawing/2014/main" xmlns="" id="{55C9512A-2A84-4E37-A306-8A6FA2BFB69D}"/>
                </a:ext>
              </a:extLst>
            </p:cNvPr>
            <p:cNvGrpSpPr/>
            <p:nvPr/>
          </p:nvGrpSpPr>
          <p:grpSpPr>
            <a:xfrm>
              <a:off x="1113042" y="4952235"/>
              <a:ext cx="4906554" cy="779843"/>
              <a:chOff x="6424071" y="1823131"/>
              <a:chExt cx="4906554" cy="779843"/>
            </a:xfrm>
          </p:grpSpPr>
          <p:sp>
            <p:nvSpPr>
              <p:cNvPr id="59" name="Rectangle: Rounded Corners 58">
                <a:extLst>
                  <a:ext uri="{FF2B5EF4-FFF2-40B4-BE49-F238E27FC236}">
                    <a16:creationId xmlns:a16="http://schemas.microsoft.com/office/drawing/2014/main" xmlns="" id="{EDF14190-0E7E-4CC6-9395-48D8C6A49863}"/>
                  </a:ext>
                </a:extLst>
              </p:cNvPr>
              <p:cNvSpPr/>
              <p:nvPr/>
            </p:nvSpPr>
            <p:spPr>
              <a:xfrm>
                <a:off x="6424071" y="1823131"/>
                <a:ext cx="882431"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60" name="Rectangle 59">
                <a:extLst>
                  <a:ext uri="{FF2B5EF4-FFF2-40B4-BE49-F238E27FC236}">
                    <a16:creationId xmlns:a16="http://schemas.microsoft.com/office/drawing/2014/main" xmlns="" id="{6718A60B-3F40-4626-9F20-2D45ABCE3D38}"/>
                  </a:ext>
                </a:extLst>
              </p:cNvPr>
              <p:cNvSpPr/>
              <p:nvPr/>
            </p:nvSpPr>
            <p:spPr>
              <a:xfrm>
                <a:off x="6865287" y="18231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Beispiele:</a:t>
                </a:r>
              </a:p>
              <a:p>
                <a:pPr marL="90488">
                  <a:lnSpc>
                    <a:spcPct val="100000"/>
                  </a:lnSpc>
                </a:pPr>
                <a:r>
                  <a:rPr lang="de-DE" sz="1600" i="1" dirty="0">
                    <a:solidFill>
                      <a:srgbClr val="572381"/>
                    </a:solidFill>
                    <a:latin typeface="Calibri" panose="020F0502020204030204" pitchFamily="34" charset="0"/>
                    <a:cs typeface="Calibri" panose="020F0502020204030204" pitchFamily="34" charset="0"/>
                  </a:rPr>
                  <a:t>Abrechnung Kindertagesstätten, Diakoniestationen</a:t>
                </a:r>
              </a:p>
              <a:p>
                <a:pPr marL="90488">
                  <a:lnSpc>
                    <a:spcPct val="100000"/>
                  </a:lnSpc>
                </a:pPr>
                <a:r>
                  <a:rPr lang="de-DE" sz="1600" i="1" dirty="0">
                    <a:solidFill>
                      <a:srgbClr val="572381"/>
                    </a:solidFill>
                    <a:latin typeface="Calibri" panose="020F0502020204030204" pitchFamily="34" charset="0"/>
                    <a:cs typeface="Calibri" panose="020F0502020204030204" pitchFamily="34" charset="0"/>
                  </a:rPr>
                  <a:t>Neuregelung im </a:t>
                </a:r>
                <a:r>
                  <a:rPr lang="de-DE" sz="1600" i="1" dirty="0" err="1">
                    <a:solidFill>
                      <a:srgbClr val="572381"/>
                    </a:solidFill>
                    <a:latin typeface="Calibri" panose="020F0502020204030204" pitchFamily="34" charset="0"/>
                    <a:cs typeface="Calibri" panose="020F0502020204030204" pitchFamily="34" charset="0"/>
                  </a:rPr>
                  <a:t>RegG</a:t>
                </a:r>
                <a:r>
                  <a:rPr lang="de-DE" sz="1600" i="1" dirty="0">
                    <a:solidFill>
                      <a:srgbClr val="572381"/>
                    </a:solidFill>
                    <a:latin typeface="Calibri" panose="020F0502020204030204" pitchFamily="34" charset="0"/>
                    <a:cs typeface="Calibri" panose="020F0502020204030204" pitchFamily="34" charset="0"/>
                  </a:rPr>
                  <a:t> zu Gemeindebüros</a:t>
                </a:r>
              </a:p>
            </p:txBody>
          </p:sp>
        </p:grpSp>
      </p:grpSp>
      <p:grpSp>
        <p:nvGrpSpPr>
          <p:cNvPr id="13" name="Group 12">
            <a:extLst>
              <a:ext uri="{FF2B5EF4-FFF2-40B4-BE49-F238E27FC236}">
                <a16:creationId xmlns:a16="http://schemas.microsoft.com/office/drawing/2014/main" xmlns="" id="{06313DA5-C56F-4BE4-8DAA-CE14FEB6E33D}"/>
              </a:ext>
            </a:extLst>
          </p:cNvPr>
          <p:cNvGrpSpPr/>
          <p:nvPr/>
        </p:nvGrpSpPr>
        <p:grpSpPr>
          <a:xfrm>
            <a:off x="1309802" y="5515282"/>
            <a:ext cx="9315487" cy="572125"/>
            <a:chOff x="1296284" y="5458289"/>
            <a:chExt cx="9288878" cy="572125"/>
          </a:xfrm>
        </p:grpSpPr>
        <p:sp>
          <p:nvSpPr>
            <p:cNvPr id="61" name="Rectangle 60">
              <a:extLst>
                <a:ext uri="{FF2B5EF4-FFF2-40B4-BE49-F238E27FC236}">
                  <a16:creationId xmlns:a16="http://schemas.microsoft.com/office/drawing/2014/main" xmlns="" id="{626C21D2-A981-48E1-B367-C6EFD1C45014}"/>
                </a:ext>
              </a:extLst>
            </p:cNvPr>
            <p:cNvSpPr/>
            <p:nvPr/>
          </p:nvSpPr>
          <p:spPr>
            <a:xfrm>
              <a:off x="1296284" y="5547333"/>
              <a:ext cx="9288878" cy="483081"/>
            </a:xfrm>
            <a:prstGeom prst="rect">
              <a:avLst/>
            </a:prstGeom>
          </p:spPr>
          <p:txBody>
            <a:bodyPr wrap="square">
              <a:spAutoFit/>
            </a:bodyPr>
            <a:lstStyle/>
            <a:p>
              <a:pPr algn="ctr">
                <a:lnSpc>
                  <a:spcPts val="1500"/>
                </a:lnSpc>
                <a:spcAft>
                  <a:spcPts val="1000"/>
                </a:spcAft>
              </a:pPr>
              <a:r>
                <a:rPr lang="de-DE" sz="1600" dirty="0">
                  <a:solidFill>
                    <a:srgbClr val="572381"/>
                  </a:solidFill>
                  <a:latin typeface="Calibri" panose="020F0502020204030204" pitchFamily="34" charset="0"/>
                  <a:cs typeface="Times New Roman" panose="02020603050405020304" pitchFamily="18" charset="0"/>
                </a:rPr>
                <a:t>Die weiteren Regelbeispiele des § 2b UStG werden auf kirchengemeindlicher Ebene allenfalls in Ausnahmekonstellationen relevant</a:t>
              </a:r>
            </a:p>
          </p:txBody>
        </p:sp>
        <p:cxnSp>
          <p:nvCxnSpPr>
            <p:cNvPr id="62" name="Straight Connector 61">
              <a:extLst>
                <a:ext uri="{FF2B5EF4-FFF2-40B4-BE49-F238E27FC236}">
                  <a16:creationId xmlns:a16="http://schemas.microsoft.com/office/drawing/2014/main" xmlns="" id="{D1A50BDE-B11C-4ECA-B32D-56C30CCC2AF7}"/>
                </a:ext>
              </a:extLst>
            </p:cNvPr>
            <p:cNvCxnSpPr>
              <a:cxnSpLocks/>
            </p:cNvCxnSpPr>
            <p:nvPr/>
          </p:nvCxnSpPr>
          <p:spPr>
            <a:xfrm>
              <a:off x="1834940" y="5458289"/>
              <a:ext cx="8211566" cy="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sp>
        <p:nvSpPr>
          <p:cNvPr id="29" name="Titel 2"/>
          <p:cNvSpPr txBox="1">
            <a:spLocks/>
          </p:cNvSpPr>
          <p:nvPr/>
        </p:nvSpPr>
        <p:spPr>
          <a:xfrm>
            <a:off x="784870" y="551177"/>
            <a:ext cx="7991614" cy="429551"/>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r>
              <a:rPr lang="de-DE" dirty="0"/>
              <a:t>Bei entgeltlichem Handeln stehen wir grundsätzlich im </a:t>
            </a:r>
            <a:r>
              <a:rPr lang="de-DE" dirty="0" smtClean="0"/>
              <a:t>Wettbewerb</a:t>
            </a:r>
            <a:endParaRPr lang="de-DE" dirty="0"/>
          </a:p>
        </p:txBody>
      </p:sp>
    </p:spTree>
    <p:extLst>
      <p:ext uri="{BB962C8B-B14F-4D97-AF65-F5344CB8AC3E}">
        <p14:creationId xmlns:p14="http://schemas.microsoft.com/office/powerpoint/2010/main" val="35549402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9321"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4" name="Slide Number Placeholder 8">
            <a:extLst>
              <a:ext uri="{FF2B5EF4-FFF2-40B4-BE49-F238E27FC236}">
                <a16:creationId xmlns:a16="http://schemas.microsoft.com/office/drawing/2014/main" xmlns="" id="{F3F1B2F3-4F2F-4D3A-BF5F-1CF6B2A7222E}"/>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grpSp>
        <p:nvGrpSpPr>
          <p:cNvPr id="6" name="Group 5">
            <a:extLst>
              <a:ext uri="{FF2B5EF4-FFF2-40B4-BE49-F238E27FC236}">
                <a16:creationId xmlns:a16="http://schemas.microsoft.com/office/drawing/2014/main" xmlns="" id="{9DBCFA2E-73BF-42C7-AFB3-FF8D1C91B435}"/>
              </a:ext>
            </a:extLst>
          </p:cNvPr>
          <p:cNvGrpSpPr/>
          <p:nvPr/>
        </p:nvGrpSpPr>
        <p:grpSpPr>
          <a:xfrm>
            <a:off x="1730137" y="2796626"/>
            <a:ext cx="8782228" cy="3996031"/>
            <a:chOff x="2128665" y="1662449"/>
            <a:chExt cx="7950201" cy="4006442"/>
          </a:xfrm>
        </p:grpSpPr>
        <p:sp>
          <p:nvSpPr>
            <p:cNvPr id="13" name="Content Placeholder 6">
              <a:extLst>
                <a:ext uri="{FF2B5EF4-FFF2-40B4-BE49-F238E27FC236}">
                  <a16:creationId xmlns:a16="http://schemas.microsoft.com/office/drawing/2014/main" xmlns="" id="{360D0BF0-82B9-4621-83D0-018868ACB0FF}"/>
                </a:ext>
              </a:extLst>
            </p:cNvPr>
            <p:cNvSpPr txBox="1">
              <a:spLocks/>
            </p:cNvSpPr>
            <p:nvPr/>
          </p:nvSpPr>
          <p:spPr>
            <a:xfrm>
              <a:off x="2749359" y="1662449"/>
              <a:ext cx="7315105" cy="4006442"/>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dirty="0">
                <a:solidFill>
                  <a:schemeClr val="tx1"/>
                </a:solidFill>
              </a:endParaRPr>
            </a:p>
            <a:p>
              <a:r>
                <a:rPr lang="de-DE" u="sng" dirty="0">
                  <a:solidFill>
                    <a:srgbClr val="572381"/>
                  </a:solidFill>
                </a:rPr>
                <a:t>Beispiele:</a:t>
              </a:r>
            </a:p>
            <a:p>
              <a:pPr marL="285750" indent="-285750">
                <a:spcAft>
                  <a:spcPts val="600"/>
                </a:spcAft>
                <a:buFont typeface="Arial" panose="020B0604020202020204" pitchFamily="34" charset="0"/>
                <a:buChar char="•"/>
              </a:pPr>
              <a:r>
                <a:rPr lang="de-DE" i="1" dirty="0">
                  <a:solidFill>
                    <a:srgbClr val="572381"/>
                  </a:solidFill>
                </a:rPr>
                <a:t>Friedhöfe</a:t>
              </a:r>
              <a:r>
                <a:rPr lang="de-DE" b="0" i="1" dirty="0">
                  <a:solidFill>
                    <a:srgbClr val="572381"/>
                  </a:solidFill>
                </a:rPr>
                <a:t> (Friedhofsgebühren auf Grundlage einer Gebührensatzung)</a:t>
              </a:r>
            </a:p>
            <a:p>
              <a:pPr marL="285750" indent="-285750">
                <a:spcAft>
                  <a:spcPts val="600"/>
                </a:spcAft>
                <a:buFont typeface="Arial" panose="020B0604020202020204" pitchFamily="34" charset="0"/>
                <a:buChar char="•"/>
              </a:pPr>
              <a:r>
                <a:rPr lang="de-DE" i="1" dirty="0">
                  <a:solidFill>
                    <a:srgbClr val="572381"/>
                  </a:solidFill>
                </a:rPr>
                <a:t>Kollekten</a:t>
              </a:r>
              <a:r>
                <a:rPr lang="de-DE" b="0" i="1" dirty="0">
                  <a:solidFill>
                    <a:srgbClr val="572381"/>
                  </a:solidFill>
                </a:rPr>
                <a:t> (Geldsammlungen im Rahmen gottesdienstlicher Feiern)</a:t>
              </a:r>
            </a:p>
            <a:p>
              <a:pPr marL="285750" indent="-285750">
                <a:spcAft>
                  <a:spcPts val="600"/>
                </a:spcAft>
                <a:buFont typeface="Arial" panose="020B0604020202020204" pitchFamily="34" charset="0"/>
                <a:buChar char="•"/>
              </a:pPr>
              <a:r>
                <a:rPr lang="de-DE" i="1" dirty="0">
                  <a:solidFill>
                    <a:srgbClr val="572381"/>
                  </a:solidFill>
                </a:rPr>
                <a:t>»Echte« Spenden </a:t>
              </a:r>
              <a:r>
                <a:rPr lang="de-DE" b="0" i="1" dirty="0">
                  <a:solidFill>
                    <a:srgbClr val="572381"/>
                  </a:solidFill>
                </a:rPr>
                <a:t>(ohne Zusammenhang zu einer bereits erbrachten oder zu erwartenden Gegenleistung)</a:t>
              </a:r>
            </a:p>
            <a:p>
              <a:pPr marL="285750" indent="-285750">
                <a:spcAft>
                  <a:spcPts val="600"/>
                </a:spcAft>
                <a:buFont typeface="Arial" panose="020B0604020202020204" pitchFamily="34" charset="0"/>
                <a:buChar char="•"/>
              </a:pPr>
              <a:r>
                <a:rPr lang="de-DE" i="1" dirty="0">
                  <a:solidFill>
                    <a:srgbClr val="572381"/>
                  </a:solidFill>
                </a:rPr>
                <a:t>Zuweisungen, echte Zuschüsse</a:t>
              </a:r>
              <a:r>
                <a:rPr lang="de-DE" b="0" i="1" dirty="0">
                  <a:solidFill>
                    <a:srgbClr val="572381"/>
                  </a:solidFill>
                </a:rPr>
                <a:t> (kein Leistungsaustausch)</a:t>
              </a:r>
            </a:p>
            <a:p>
              <a:endParaRPr lang="de-DE" dirty="0"/>
            </a:p>
          </p:txBody>
        </p:sp>
        <p:grpSp>
          <p:nvGrpSpPr>
            <p:cNvPr id="3" name="Group 2">
              <a:extLst>
                <a:ext uri="{FF2B5EF4-FFF2-40B4-BE49-F238E27FC236}">
                  <a16:creationId xmlns:a16="http://schemas.microsoft.com/office/drawing/2014/main" xmlns="" id="{F7F716F5-6996-493F-B7BC-DD0A533DD6E4}"/>
                </a:ext>
              </a:extLst>
            </p:cNvPr>
            <p:cNvGrpSpPr/>
            <p:nvPr/>
          </p:nvGrpSpPr>
          <p:grpSpPr>
            <a:xfrm>
              <a:off x="2128665" y="2178568"/>
              <a:ext cx="7950201" cy="2702473"/>
              <a:chOff x="2128665" y="2178568"/>
              <a:chExt cx="7950201" cy="2702473"/>
            </a:xfrm>
          </p:grpSpPr>
          <p:grpSp>
            <p:nvGrpSpPr>
              <p:cNvPr id="2" name="Group 1">
                <a:extLst>
                  <a:ext uri="{FF2B5EF4-FFF2-40B4-BE49-F238E27FC236}">
                    <a16:creationId xmlns:a16="http://schemas.microsoft.com/office/drawing/2014/main" xmlns="" id="{319187B1-4131-42DA-ACA1-DC136D5F0AAE}"/>
                  </a:ext>
                </a:extLst>
              </p:cNvPr>
              <p:cNvGrpSpPr/>
              <p:nvPr/>
            </p:nvGrpSpPr>
            <p:grpSpPr>
              <a:xfrm>
                <a:off x="2128665" y="2178568"/>
                <a:ext cx="7950201" cy="2702473"/>
                <a:chOff x="1963820" y="1752323"/>
                <a:chExt cx="7950201" cy="3112022"/>
              </a:xfrm>
            </p:grpSpPr>
            <p:sp>
              <p:nvSpPr>
                <p:cNvPr id="19" name="Rectangle 18">
                  <a:extLst>
                    <a:ext uri="{FF2B5EF4-FFF2-40B4-BE49-F238E27FC236}">
                      <a16:creationId xmlns:a16="http://schemas.microsoft.com/office/drawing/2014/main" xmlns="" id="{A0407787-D308-481C-BA84-4558324D1569}"/>
                    </a:ext>
                  </a:extLst>
                </p:cNvPr>
                <p:cNvSpPr/>
                <p:nvPr/>
              </p:nvSpPr>
              <p:spPr>
                <a:xfrm>
                  <a:off x="1963820" y="2170096"/>
                  <a:ext cx="7950201" cy="2694249"/>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20"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1976" y="1752323"/>
                  <a:ext cx="7339787" cy="420329"/>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a:solidFill>
                        <a:schemeClr val="bg1"/>
                      </a:solidFill>
                      <a:latin typeface="Calibri" panose="020F0502020204030204" pitchFamily="34" charset="0"/>
                      <a:cs typeface="Calibri" panose="020F0502020204030204" pitchFamily="34" charset="0"/>
                    </a:rPr>
                    <a:t>Nicht steuerbare Umsätze</a:t>
                  </a:r>
                </a:p>
              </p:txBody>
            </p:sp>
          </p:grpSp>
          <p:sp>
            <p:nvSpPr>
              <p:cNvPr id="26" name="Oval 25">
                <a:extLst>
                  <a:ext uri="{FF2B5EF4-FFF2-40B4-BE49-F238E27FC236}">
                    <a16:creationId xmlns:a16="http://schemas.microsoft.com/office/drawing/2014/main" xmlns="" id="{D787BB1C-1A2E-446F-AE3C-81A4417C8BBB}"/>
                  </a:ext>
                </a:extLst>
              </p:cNvPr>
              <p:cNvSpPr/>
              <p:nvPr/>
            </p:nvSpPr>
            <p:spPr bwMode="ltGray">
              <a:xfrm>
                <a:off x="9317663" y="2837396"/>
                <a:ext cx="567152" cy="585097"/>
              </a:xfrm>
              <a:prstGeom prst="ellipse">
                <a:avLst/>
              </a:prstGeom>
              <a:solidFill>
                <a:srgbClr val="175C2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latin typeface="Georgia" pitchFamily="18" charset="0"/>
                </a:endParaRPr>
              </a:p>
            </p:txBody>
          </p:sp>
        </p:grpSp>
      </p:grpSp>
      <p:sp>
        <p:nvSpPr>
          <p:cNvPr id="8" name="Date Placeholder 7">
            <a:extLst>
              <a:ext uri="{FF2B5EF4-FFF2-40B4-BE49-F238E27FC236}">
                <a16:creationId xmlns:a16="http://schemas.microsoft.com/office/drawing/2014/main" xmlns="" id="{71EF091A-3436-4A30-A71F-490A5C2F0852}"/>
              </a:ext>
            </a:extLst>
          </p:cNvPr>
          <p:cNvSpPr>
            <a:spLocks noGrp="1"/>
          </p:cNvSpPr>
          <p:nvPr>
            <p:ph type="dt" sz="half" idx="10"/>
          </p:nvPr>
        </p:nvSpPr>
        <p:spPr/>
        <p:txBody>
          <a:bodyPr/>
          <a:lstStyle/>
          <a:p>
            <a:fld id="{962E4AFA-66FC-49E3-81E4-7FBBA20820CC}" type="datetime1">
              <a:rPr lang="de-DE" smtClean="0"/>
              <a:t>06.07.2021</a:t>
            </a:fld>
            <a:endParaRPr lang="de-DE" dirty="0"/>
          </a:p>
        </p:txBody>
      </p:sp>
      <p:sp>
        <p:nvSpPr>
          <p:cNvPr id="9" name="Footer Placeholder 8">
            <a:extLst>
              <a:ext uri="{FF2B5EF4-FFF2-40B4-BE49-F238E27FC236}">
                <a16:creationId xmlns:a16="http://schemas.microsoft.com/office/drawing/2014/main" xmlns="" id="{217EC7C4-53AE-424F-9E65-ED6BE2FAB850}"/>
              </a:ext>
            </a:extLst>
          </p:cNvPr>
          <p:cNvSpPr>
            <a:spLocks noGrp="1"/>
          </p:cNvSpPr>
          <p:nvPr>
            <p:ph type="ftr" sz="quarter" idx="11"/>
          </p:nvPr>
        </p:nvSpPr>
        <p:spPr/>
        <p:txBody>
          <a:bodyPr/>
          <a:lstStyle/>
          <a:p>
            <a:r>
              <a:rPr lang="de-DE" dirty="0"/>
              <a:t>EKHN</a:t>
            </a:r>
          </a:p>
        </p:txBody>
      </p:sp>
      <p:sp>
        <p:nvSpPr>
          <p:cNvPr id="7" name="Foliennummernplatzhalter 6"/>
          <p:cNvSpPr>
            <a:spLocks noGrp="1"/>
          </p:cNvSpPr>
          <p:nvPr>
            <p:ph type="sldNum" sz="quarter" idx="12"/>
          </p:nvPr>
        </p:nvSpPr>
        <p:spPr/>
        <p:txBody>
          <a:bodyPr/>
          <a:lstStyle/>
          <a:p>
            <a:fld id="{1C198799-69ED-41F3-BD93-533E14B4A78A}" type="slidenum">
              <a:rPr lang="de-DE" smtClean="0"/>
              <a:pPr/>
              <a:t>12</a:t>
            </a:fld>
            <a:endParaRPr lang="de-DE" dirty="0"/>
          </a:p>
        </p:txBody>
      </p:sp>
      <p:sp>
        <p:nvSpPr>
          <p:cNvPr id="18" name="Freeform 113">
            <a:extLst>
              <a:ext uri="{FF2B5EF4-FFF2-40B4-BE49-F238E27FC236}">
                <a16:creationId xmlns:a16="http://schemas.microsoft.com/office/drawing/2014/main" xmlns="" id="{8820178C-65E6-42EF-98D6-AB9599523E97}"/>
              </a:ext>
            </a:extLst>
          </p:cNvPr>
          <p:cNvSpPr>
            <a:spLocks noChangeAspect="1" noEditPoints="1"/>
          </p:cNvSpPr>
          <p:nvPr/>
        </p:nvSpPr>
        <p:spPr bwMode="auto">
          <a:xfrm>
            <a:off x="9811136" y="4091360"/>
            <a:ext cx="338860" cy="33789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dirty="0"/>
          </a:p>
        </p:txBody>
      </p:sp>
      <p:grpSp>
        <p:nvGrpSpPr>
          <p:cNvPr id="10" name="Group 9">
            <a:extLst>
              <a:ext uri="{FF2B5EF4-FFF2-40B4-BE49-F238E27FC236}">
                <a16:creationId xmlns:a16="http://schemas.microsoft.com/office/drawing/2014/main" xmlns="" id="{7E641C48-7D99-4E69-B0E5-F3743B75E611}"/>
              </a:ext>
            </a:extLst>
          </p:cNvPr>
          <p:cNvGrpSpPr/>
          <p:nvPr/>
        </p:nvGrpSpPr>
        <p:grpSpPr>
          <a:xfrm>
            <a:off x="966975" y="1711992"/>
            <a:ext cx="10308552" cy="1238052"/>
            <a:chOff x="1024348" y="1501715"/>
            <a:chExt cx="9171339" cy="890626"/>
          </a:xfrm>
        </p:grpSpPr>
        <p:grpSp>
          <p:nvGrpSpPr>
            <p:cNvPr id="21" name="Group 20">
              <a:extLst>
                <a:ext uri="{FF2B5EF4-FFF2-40B4-BE49-F238E27FC236}">
                  <a16:creationId xmlns:a16="http://schemas.microsoft.com/office/drawing/2014/main" xmlns="" id="{7D60CCDA-3E00-4131-A5D8-7A31209A9007}"/>
                </a:ext>
              </a:extLst>
            </p:cNvPr>
            <p:cNvGrpSpPr/>
            <p:nvPr/>
          </p:nvGrpSpPr>
          <p:grpSpPr>
            <a:xfrm>
              <a:off x="1024348" y="1517782"/>
              <a:ext cx="3557679" cy="874559"/>
              <a:chOff x="1121818" y="4878081"/>
              <a:chExt cx="3243072" cy="874559"/>
            </a:xfrm>
          </p:grpSpPr>
          <p:sp>
            <p:nvSpPr>
              <p:cNvPr id="22" name="Rectangle 21">
                <a:extLst>
                  <a:ext uri="{FF2B5EF4-FFF2-40B4-BE49-F238E27FC236}">
                    <a16:creationId xmlns:a16="http://schemas.microsoft.com/office/drawing/2014/main" xmlns="" id="{82FDE984-0CFA-4679-BD55-C908788D8DDA}"/>
                  </a:ext>
                </a:extLst>
              </p:cNvPr>
              <p:cNvSpPr/>
              <p:nvPr/>
            </p:nvSpPr>
            <p:spPr>
              <a:xfrm>
                <a:off x="1121818" y="4878081"/>
                <a:ext cx="3243072" cy="874559"/>
              </a:xfrm>
              <a:prstGeom prst="rect">
                <a:avLst/>
              </a:prstGeom>
            </p:spPr>
            <p:txBody>
              <a:bodyPr wrap="square">
                <a:spAutoFit/>
              </a:bodyPr>
              <a:lstStyle/>
              <a:p>
                <a:pPr>
                  <a:spcAft>
                    <a:spcPts val="600"/>
                  </a:spcAft>
                </a:pPr>
                <a:r>
                  <a:rPr lang="de-DE" sz="2000" spc="300" dirty="0">
                    <a:solidFill>
                      <a:srgbClr val="572381"/>
                    </a:solidFill>
                    <a:latin typeface="Calibri" panose="020F0502020204030204" pitchFamily="34" charset="0"/>
                    <a:ea typeface="Calibri" panose="020F0502020204030204" pitchFamily="34" charset="0"/>
                    <a:cs typeface="Times New Roman" panose="02020603050405020304" pitchFamily="18" charset="0"/>
                  </a:rPr>
                  <a:t>  Nicht steuerbar: </a:t>
                </a:r>
              </a:p>
              <a:p>
                <a:pPr marL="285750" indent="-285750">
                  <a:buFont typeface="Arial" panose="020B0604020202020204" pitchFamily="34" charset="0"/>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Umsätze, die nicht Gegenleistung für eine Lieferung oder sonstige Leistung sind</a:t>
                </a:r>
              </a:p>
              <a:p>
                <a:pPr marL="285750" indent="-285750">
                  <a:buFont typeface="Arial" panose="020B0604020202020204" pitchFamily="34" charset="0"/>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Leistungen durch Nichtunternehmer </a:t>
                </a:r>
              </a:p>
            </p:txBody>
          </p:sp>
          <p:cxnSp>
            <p:nvCxnSpPr>
              <p:cNvPr id="23" name="Straight Connector 22">
                <a:extLst>
                  <a:ext uri="{FF2B5EF4-FFF2-40B4-BE49-F238E27FC236}">
                    <a16:creationId xmlns:a16="http://schemas.microsoft.com/office/drawing/2014/main" xmlns="" id="{65554E05-77F8-41AA-840E-0B9B6775B4A7}"/>
                  </a:ext>
                </a:extLst>
              </p:cNvPr>
              <p:cNvCxnSpPr>
                <a:cxnSpLocks/>
              </p:cNvCxnSpPr>
              <p:nvPr/>
            </p:nvCxnSpPr>
            <p:spPr>
              <a:xfrm>
                <a:off x="1158442" y="5138134"/>
                <a:ext cx="3205707" cy="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grpSp>
          <p:nvGrpSpPr>
            <p:cNvPr id="24" name="Group 23">
              <a:extLst>
                <a:ext uri="{FF2B5EF4-FFF2-40B4-BE49-F238E27FC236}">
                  <a16:creationId xmlns:a16="http://schemas.microsoft.com/office/drawing/2014/main" xmlns="" id="{D496ADF1-2289-4736-90FC-B0271FFE27A8}"/>
                </a:ext>
              </a:extLst>
            </p:cNvPr>
            <p:cNvGrpSpPr/>
            <p:nvPr/>
          </p:nvGrpSpPr>
          <p:grpSpPr>
            <a:xfrm>
              <a:off x="4544039" y="1517782"/>
              <a:ext cx="3688781" cy="520308"/>
              <a:chOff x="1159183" y="4878081"/>
              <a:chExt cx="3312534" cy="520308"/>
            </a:xfrm>
          </p:grpSpPr>
          <p:sp>
            <p:nvSpPr>
              <p:cNvPr id="25" name="Rectangle 24">
                <a:extLst>
                  <a:ext uri="{FF2B5EF4-FFF2-40B4-BE49-F238E27FC236}">
                    <a16:creationId xmlns:a16="http://schemas.microsoft.com/office/drawing/2014/main" xmlns="" id="{35BCF256-A854-474C-8C50-3F2B0B2D3C8B}"/>
                  </a:ext>
                </a:extLst>
              </p:cNvPr>
              <p:cNvSpPr/>
              <p:nvPr/>
            </p:nvSpPr>
            <p:spPr>
              <a:xfrm>
                <a:off x="1228645" y="4878081"/>
                <a:ext cx="3243072" cy="520308"/>
              </a:xfrm>
              <a:prstGeom prst="rect">
                <a:avLst/>
              </a:prstGeom>
            </p:spPr>
            <p:txBody>
              <a:bodyPr wrap="square">
                <a:spAutoFit/>
              </a:bodyPr>
              <a:lstStyle/>
              <a:p>
                <a:pPr>
                  <a:spcAft>
                    <a:spcPts val="600"/>
                  </a:spcAft>
                </a:pPr>
                <a:r>
                  <a:rPr lang="de-DE" sz="2000" spc="300" dirty="0">
                    <a:solidFill>
                      <a:srgbClr val="572381"/>
                    </a:solidFill>
                    <a:latin typeface="Calibri" panose="020F0502020204030204" pitchFamily="34" charset="0"/>
                    <a:ea typeface="Calibri" panose="020F0502020204030204" pitchFamily="34" charset="0"/>
                    <a:cs typeface="Times New Roman" panose="02020603050405020304" pitchFamily="18" charset="0"/>
                  </a:rPr>
                  <a:t>  Steuerbefreit: </a:t>
                </a:r>
              </a:p>
              <a:p>
                <a:pPr marL="285750" indent="-285750">
                  <a:buFont typeface="Arial" panose="020B0604020202020204" pitchFamily="34" charset="0"/>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Befreite Leistungen nach § 4 UStG</a:t>
                </a:r>
              </a:p>
            </p:txBody>
          </p:sp>
          <p:cxnSp>
            <p:nvCxnSpPr>
              <p:cNvPr id="27" name="Straight Connector 26">
                <a:extLst>
                  <a:ext uri="{FF2B5EF4-FFF2-40B4-BE49-F238E27FC236}">
                    <a16:creationId xmlns:a16="http://schemas.microsoft.com/office/drawing/2014/main" xmlns="" id="{D184186F-C38B-4B4D-A2E5-D9363C230A25}"/>
                  </a:ext>
                </a:extLst>
              </p:cNvPr>
              <p:cNvCxnSpPr>
                <a:cxnSpLocks/>
              </p:cNvCxnSpPr>
              <p:nvPr/>
            </p:nvCxnSpPr>
            <p:spPr>
              <a:xfrm>
                <a:off x="1159183" y="5138134"/>
                <a:ext cx="3205707" cy="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grpSp>
          <p:nvGrpSpPr>
            <p:cNvPr id="28" name="Group 27">
              <a:extLst>
                <a:ext uri="{FF2B5EF4-FFF2-40B4-BE49-F238E27FC236}">
                  <a16:creationId xmlns:a16="http://schemas.microsoft.com/office/drawing/2014/main" xmlns="" id="{00C8B4C5-FC03-466E-A56F-B490F7D9ED19}"/>
                </a:ext>
              </a:extLst>
            </p:cNvPr>
            <p:cNvGrpSpPr/>
            <p:nvPr/>
          </p:nvGrpSpPr>
          <p:grpSpPr>
            <a:xfrm>
              <a:off x="7612379" y="1501715"/>
              <a:ext cx="2583308" cy="520307"/>
              <a:chOff x="1125462" y="4862114"/>
              <a:chExt cx="3916357" cy="520307"/>
            </a:xfrm>
          </p:grpSpPr>
          <p:sp>
            <p:nvSpPr>
              <p:cNvPr id="29" name="Rectangle 28">
                <a:extLst>
                  <a:ext uri="{FF2B5EF4-FFF2-40B4-BE49-F238E27FC236}">
                    <a16:creationId xmlns:a16="http://schemas.microsoft.com/office/drawing/2014/main" xmlns="" id="{738FAC6F-EB51-4963-B894-A48B91E5975B}"/>
                  </a:ext>
                </a:extLst>
              </p:cNvPr>
              <p:cNvSpPr/>
              <p:nvPr/>
            </p:nvSpPr>
            <p:spPr>
              <a:xfrm>
                <a:off x="1280056" y="4862114"/>
                <a:ext cx="3761763" cy="520307"/>
              </a:xfrm>
              <a:prstGeom prst="rect">
                <a:avLst/>
              </a:prstGeom>
            </p:spPr>
            <p:txBody>
              <a:bodyPr wrap="square">
                <a:spAutoFit/>
              </a:bodyPr>
              <a:lstStyle/>
              <a:p>
                <a:pPr>
                  <a:spcAft>
                    <a:spcPts val="600"/>
                  </a:spcAft>
                </a:pPr>
                <a:r>
                  <a:rPr lang="de-DE" sz="2000" spc="300" dirty="0">
                    <a:solidFill>
                      <a:srgbClr val="572381"/>
                    </a:solidFill>
                    <a:latin typeface="Calibri" panose="020F0502020204030204" pitchFamily="34" charset="0"/>
                    <a:ea typeface="Calibri" panose="020F0502020204030204" pitchFamily="34" charset="0"/>
                    <a:cs typeface="Times New Roman" panose="02020603050405020304" pitchFamily="18" charset="0"/>
                  </a:rPr>
                  <a:t>  Steuerpflichtig: </a:t>
                </a:r>
              </a:p>
              <a:p>
                <a:pPr marL="285750" indent="-285750">
                  <a:buFont typeface="Arial" panose="020B0604020202020204" pitchFamily="34" charset="0"/>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Alle übrigen Umsätze</a:t>
                </a:r>
              </a:p>
            </p:txBody>
          </p:sp>
          <p:cxnSp>
            <p:nvCxnSpPr>
              <p:cNvPr id="30" name="Straight Connector 29">
                <a:extLst>
                  <a:ext uri="{FF2B5EF4-FFF2-40B4-BE49-F238E27FC236}">
                    <a16:creationId xmlns:a16="http://schemas.microsoft.com/office/drawing/2014/main" xmlns="" id="{A85172F8-9462-4280-9A79-4F377ECCA2BA}"/>
                  </a:ext>
                </a:extLst>
              </p:cNvPr>
              <p:cNvCxnSpPr>
                <a:cxnSpLocks/>
              </p:cNvCxnSpPr>
              <p:nvPr/>
            </p:nvCxnSpPr>
            <p:spPr>
              <a:xfrm>
                <a:off x="1125462" y="5138134"/>
                <a:ext cx="3620165" cy="101"/>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grpSp>
      <p:sp>
        <p:nvSpPr>
          <p:cNvPr id="31" name="Titel 2"/>
          <p:cNvSpPr txBox="1">
            <a:spLocks/>
          </p:cNvSpPr>
          <p:nvPr/>
        </p:nvSpPr>
        <p:spPr>
          <a:xfrm>
            <a:off x="966974" y="639375"/>
            <a:ext cx="7882792" cy="399667"/>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spcAft>
                <a:spcPts val="600"/>
              </a:spcAft>
            </a:pPr>
            <a:r>
              <a:rPr lang="de-DE" dirty="0"/>
              <a:t>Welche Leistungen unterliegen grundsätzlich nicht der Umsatzsteuer?</a:t>
            </a:r>
          </a:p>
        </p:txBody>
      </p:sp>
    </p:spTree>
    <p:extLst>
      <p:ext uri="{BB962C8B-B14F-4D97-AF65-F5344CB8AC3E}">
        <p14:creationId xmlns:p14="http://schemas.microsoft.com/office/powerpoint/2010/main" val="36390043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0345"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4" name="Slide Number Placeholder 8">
            <a:extLst>
              <a:ext uri="{FF2B5EF4-FFF2-40B4-BE49-F238E27FC236}">
                <a16:creationId xmlns:a16="http://schemas.microsoft.com/office/drawing/2014/main" xmlns="" id="{F3F1B2F3-4F2F-4D3A-BF5F-1CF6B2A7222E}"/>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grpSp>
        <p:nvGrpSpPr>
          <p:cNvPr id="6" name="Group 5">
            <a:extLst>
              <a:ext uri="{FF2B5EF4-FFF2-40B4-BE49-F238E27FC236}">
                <a16:creationId xmlns:a16="http://schemas.microsoft.com/office/drawing/2014/main" xmlns="" id="{9DBCFA2E-73BF-42C7-AFB3-FF8D1C91B435}"/>
              </a:ext>
            </a:extLst>
          </p:cNvPr>
          <p:cNvGrpSpPr/>
          <p:nvPr/>
        </p:nvGrpSpPr>
        <p:grpSpPr>
          <a:xfrm>
            <a:off x="1338698" y="860834"/>
            <a:ext cx="9400246" cy="5311366"/>
            <a:chOff x="2128665" y="1682647"/>
            <a:chExt cx="7950201" cy="4333028"/>
          </a:xfrm>
        </p:grpSpPr>
        <p:sp>
          <p:nvSpPr>
            <p:cNvPr id="13" name="Content Placeholder 6">
              <a:extLst>
                <a:ext uri="{FF2B5EF4-FFF2-40B4-BE49-F238E27FC236}">
                  <a16:creationId xmlns:a16="http://schemas.microsoft.com/office/drawing/2014/main" xmlns="" id="{360D0BF0-82B9-4621-83D0-018868ACB0FF}"/>
                </a:ext>
              </a:extLst>
            </p:cNvPr>
            <p:cNvSpPr txBox="1">
              <a:spLocks/>
            </p:cNvSpPr>
            <p:nvPr/>
          </p:nvSpPr>
          <p:spPr>
            <a:xfrm>
              <a:off x="2586777" y="1682647"/>
              <a:ext cx="7022488" cy="4333028"/>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endParaRPr lang="de-DE" sz="1600" dirty="0">
                <a:solidFill>
                  <a:srgbClr val="572381"/>
                </a:solidFill>
              </a:endParaRPr>
            </a:p>
            <a:p>
              <a:r>
                <a:rPr lang="de-DE" sz="1600" dirty="0">
                  <a:solidFill>
                    <a:srgbClr val="572381"/>
                  </a:solidFill>
                </a:rPr>
                <a:t/>
              </a:r>
              <a:br>
                <a:rPr lang="de-DE" sz="1600" dirty="0">
                  <a:solidFill>
                    <a:srgbClr val="572381"/>
                  </a:solidFill>
                </a:rPr>
              </a:br>
              <a:r>
                <a:rPr lang="de-DE" u="sng" dirty="0">
                  <a:solidFill>
                    <a:srgbClr val="572381"/>
                  </a:solidFill>
                </a:rPr>
                <a:t>Beispiele:</a:t>
              </a:r>
            </a:p>
            <a:p>
              <a:pPr marL="285750" indent="-285750">
                <a:spcAft>
                  <a:spcPts val="600"/>
                </a:spcAft>
                <a:buFont typeface="Arial" panose="020B0604020202020204" pitchFamily="34" charset="0"/>
                <a:buChar char="•"/>
              </a:pPr>
              <a:r>
                <a:rPr lang="de-DE" i="1" dirty="0">
                  <a:solidFill>
                    <a:srgbClr val="572381"/>
                  </a:solidFill>
                </a:rPr>
                <a:t>Landpacht- und Erbbauzins</a:t>
              </a:r>
              <a:r>
                <a:rPr lang="de-DE" b="0" i="1" dirty="0">
                  <a:solidFill>
                    <a:srgbClr val="572381"/>
                  </a:solidFill>
                </a:rPr>
                <a:t>, </a:t>
              </a:r>
              <a:r>
                <a:rPr lang="de-DE" i="1" dirty="0">
                  <a:solidFill>
                    <a:srgbClr val="572381"/>
                  </a:solidFill>
                </a:rPr>
                <a:t>Mietzins</a:t>
              </a:r>
              <a:r>
                <a:rPr lang="de-DE" b="0" i="1" dirty="0">
                  <a:solidFill>
                    <a:srgbClr val="572381"/>
                  </a:solidFill>
                </a:rPr>
                <a:t> </a:t>
              </a:r>
              <a:r>
                <a:rPr lang="de-DE" i="1" dirty="0">
                  <a:solidFill>
                    <a:srgbClr val="572381"/>
                  </a:solidFill>
                </a:rPr>
                <a:t>für Wohnräume </a:t>
              </a:r>
              <a:r>
                <a:rPr lang="de-DE" b="0" i="1" dirty="0">
                  <a:solidFill>
                    <a:srgbClr val="572381"/>
                  </a:solidFill>
                </a:rPr>
                <a:t>(länger als 6 Monate vermietet)</a:t>
              </a:r>
            </a:p>
            <a:p>
              <a:pPr marL="285750" indent="-285750">
                <a:spcAft>
                  <a:spcPts val="600"/>
                </a:spcAft>
                <a:buFont typeface="Arial" panose="020B0604020202020204" pitchFamily="34" charset="0"/>
                <a:buChar char="•"/>
              </a:pPr>
              <a:r>
                <a:rPr lang="de-DE" i="1" dirty="0">
                  <a:solidFill>
                    <a:srgbClr val="572381"/>
                  </a:solidFill>
                </a:rPr>
                <a:t>Kinderbetreuung</a:t>
              </a:r>
              <a:r>
                <a:rPr lang="de-DE" b="0" i="1" dirty="0">
                  <a:solidFill>
                    <a:srgbClr val="572381"/>
                  </a:solidFill>
                </a:rPr>
                <a:t> (Kita)</a:t>
              </a:r>
            </a:p>
            <a:p>
              <a:pPr marL="285750" indent="-285750">
                <a:spcAft>
                  <a:spcPts val="600"/>
                </a:spcAft>
                <a:buFont typeface="Arial" panose="020B0604020202020204" pitchFamily="34" charset="0"/>
                <a:buChar char="•"/>
              </a:pPr>
              <a:r>
                <a:rPr lang="de-DE" i="1" dirty="0">
                  <a:solidFill>
                    <a:srgbClr val="572381"/>
                  </a:solidFill>
                </a:rPr>
                <a:t>Eintrittsgelder</a:t>
              </a:r>
              <a:r>
                <a:rPr lang="de-DE" b="0" i="1" dirty="0">
                  <a:solidFill>
                    <a:srgbClr val="572381"/>
                  </a:solidFill>
                </a:rPr>
                <a:t> </a:t>
              </a:r>
              <a:r>
                <a:rPr lang="de-DE" i="1" dirty="0">
                  <a:solidFill>
                    <a:srgbClr val="572381"/>
                  </a:solidFill>
                </a:rPr>
                <a:t>für Konzerte kirchlicher Chöre, Orchester, Ensembles </a:t>
              </a:r>
              <a:r>
                <a:rPr lang="de-DE" b="0" i="1" dirty="0">
                  <a:solidFill>
                    <a:srgbClr val="572381"/>
                  </a:solidFill>
                </a:rPr>
                <a:t>(gilt für alle kirchenmusikalischen Einrichtungen der EKHN, auch bei öffentlichen Konzerten z. B. in einer Stadthalle; gilt aber nicht für begleitende Unterhaltungsmusik oder Privatauftritte)</a:t>
              </a:r>
            </a:p>
            <a:p>
              <a:pPr marL="285750" indent="-285750">
                <a:spcAft>
                  <a:spcPts val="600"/>
                </a:spcAft>
                <a:buFont typeface="Arial" panose="020B0604020202020204" pitchFamily="34" charset="0"/>
                <a:buChar char="•"/>
              </a:pPr>
              <a:r>
                <a:rPr lang="de-DE" i="1" dirty="0">
                  <a:solidFill>
                    <a:srgbClr val="572381"/>
                  </a:solidFill>
                </a:rPr>
                <a:t>Konfirmandenfreizeiten</a:t>
              </a:r>
              <a:r>
                <a:rPr lang="de-DE" b="0" i="1" dirty="0">
                  <a:solidFill>
                    <a:srgbClr val="572381"/>
                  </a:solidFill>
                </a:rPr>
                <a:t>, </a:t>
              </a:r>
              <a:r>
                <a:rPr lang="de-DE" i="1" dirty="0">
                  <a:solidFill>
                    <a:srgbClr val="572381"/>
                  </a:solidFill>
                </a:rPr>
                <a:t>Jugendfahrten</a:t>
              </a:r>
              <a:r>
                <a:rPr lang="de-DE" b="0" i="1" dirty="0">
                  <a:solidFill>
                    <a:srgbClr val="572381"/>
                  </a:solidFill>
                </a:rPr>
                <a:t> (zum Zweck der allgemeinen und religiösen Erziehung, gilt nicht für reine Freizeitveranstaltungen), </a:t>
              </a:r>
              <a:r>
                <a:rPr lang="de-DE" i="1" dirty="0">
                  <a:solidFill>
                    <a:srgbClr val="572381"/>
                  </a:solidFill>
                </a:rPr>
                <a:t>Jugendhilfe</a:t>
              </a:r>
            </a:p>
            <a:p>
              <a:pPr marL="285750" indent="-285750">
                <a:spcAft>
                  <a:spcPts val="600"/>
                </a:spcAft>
                <a:buFont typeface="Arial" panose="020B0604020202020204" pitchFamily="34" charset="0"/>
                <a:buChar char="•"/>
              </a:pPr>
              <a:r>
                <a:rPr lang="de-DE" i="1" dirty="0">
                  <a:solidFill>
                    <a:srgbClr val="572381"/>
                  </a:solidFill>
                </a:rPr>
                <a:t>Personalkostenerstattungen </a:t>
              </a:r>
              <a:r>
                <a:rPr lang="de-DE" b="0" i="1" dirty="0">
                  <a:solidFill>
                    <a:srgbClr val="572381"/>
                  </a:solidFill>
                </a:rPr>
                <a:t>(ausschließlich Pfarrdienst, Kirchenmusik, Gemeinde-pädagogik und Gemeindesekretariat)</a:t>
              </a:r>
              <a:endParaRPr lang="de-DE" i="1" dirty="0">
                <a:solidFill>
                  <a:srgbClr val="572381"/>
                </a:solidFill>
              </a:endParaRPr>
            </a:p>
            <a:p>
              <a:endParaRPr lang="de-DE" dirty="0"/>
            </a:p>
          </p:txBody>
        </p:sp>
        <p:grpSp>
          <p:nvGrpSpPr>
            <p:cNvPr id="2" name="Group 1">
              <a:extLst>
                <a:ext uri="{FF2B5EF4-FFF2-40B4-BE49-F238E27FC236}">
                  <a16:creationId xmlns:a16="http://schemas.microsoft.com/office/drawing/2014/main" xmlns="" id="{319187B1-4131-42DA-ACA1-DC136D5F0AAE}"/>
                </a:ext>
              </a:extLst>
            </p:cNvPr>
            <p:cNvGrpSpPr/>
            <p:nvPr/>
          </p:nvGrpSpPr>
          <p:grpSpPr>
            <a:xfrm>
              <a:off x="2128665" y="2252862"/>
              <a:ext cx="7950201" cy="3762811"/>
              <a:chOff x="1963820" y="1837876"/>
              <a:chExt cx="7950201" cy="4333048"/>
            </a:xfrm>
          </p:grpSpPr>
          <p:sp>
            <p:nvSpPr>
              <p:cNvPr id="19" name="Rectangle 18">
                <a:extLst>
                  <a:ext uri="{FF2B5EF4-FFF2-40B4-BE49-F238E27FC236}">
                    <a16:creationId xmlns:a16="http://schemas.microsoft.com/office/drawing/2014/main" xmlns="" id="{A0407787-D308-481C-BA84-4558324D1569}"/>
                  </a:ext>
                </a:extLst>
              </p:cNvPr>
              <p:cNvSpPr/>
              <p:nvPr/>
            </p:nvSpPr>
            <p:spPr>
              <a:xfrm>
                <a:off x="1963820" y="2170094"/>
                <a:ext cx="7950201" cy="4000830"/>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solidFill>
                    <a:srgbClr val="572381"/>
                  </a:solidFill>
                </a:endParaRPr>
              </a:p>
            </p:txBody>
          </p:sp>
          <p:sp>
            <p:nvSpPr>
              <p:cNvPr id="20"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837876"/>
                <a:ext cx="7339787" cy="334774"/>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a:solidFill>
                      <a:schemeClr val="bg1"/>
                    </a:solidFill>
                    <a:latin typeface="Calibri" panose="020F0502020204030204" pitchFamily="34" charset="0"/>
                    <a:cs typeface="Calibri" panose="020F0502020204030204" pitchFamily="34" charset="0"/>
                  </a:rPr>
                  <a:t>Steuerbefreite Leistungen (vgl. § 4 UStG)</a:t>
                </a:r>
              </a:p>
            </p:txBody>
          </p:sp>
        </p:grpSp>
      </p:grpSp>
      <p:sp>
        <p:nvSpPr>
          <p:cNvPr id="8" name="Date Placeholder 7">
            <a:extLst>
              <a:ext uri="{FF2B5EF4-FFF2-40B4-BE49-F238E27FC236}">
                <a16:creationId xmlns:a16="http://schemas.microsoft.com/office/drawing/2014/main" xmlns="" id="{71EF091A-3436-4A30-A71F-490A5C2F0852}"/>
              </a:ext>
            </a:extLst>
          </p:cNvPr>
          <p:cNvSpPr>
            <a:spLocks noGrp="1"/>
          </p:cNvSpPr>
          <p:nvPr>
            <p:ph type="dt" sz="half" idx="10"/>
          </p:nvPr>
        </p:nvSpPr>
        <p:spPr/>
        <p:txBody>
          <a:bodyPr/>
          <a:lstStyle/>
          <a:p>
            <a:fld id="{41F3EA84-B691-475B-B437-0B41D7655CAF}" type="datetime1">
              <a:rPr lang="de-DE" smtClean="0"/>
              <a:t>06.07.2021</a:t>
            </a:fld>
            <a:endParaRPr lang="de-DE" dirty="0"/>
          </a:p>
        </p:txBody>
      </p:sp>
      <p:sp>
        <p:nvSpPr>
          <p:cNvPr id="9" name="Footer Placeholder 8">
            <a:extLst>
              <a:ext uri="{FF2B5EF4-FFF2-40B4-BE49-F238E27FC236}">
                <a16:creationId xmlns:a16="http://schemas.microsoft.com/office/drawing/2014/main" xmlns="" id="{217EC7C4-53AE-424F-9E65-ED6BE2FAB850}"/>
              </a:ext>
            </a:extLst>
          </p:cNvPr>
          <p:cNvSpPr>
            <a:spLocks noGrp="1"/>
          </p:cNvSpPr>
          <p:nvPr>
            <p:ph type="ftr" sz="quarter" idx="11"/>
          </p:nvPr>
        </p:nvSpPr>
        <p:spPr/>
        <p:txBody>
          <a:bodyPr/>
          <a:lstStyle/>
          <a:p>
            <a:r>
              <a:rPr lang="de-DE" dirty="0"/>
              <a:t>EKHN</a:t>
            </a:r>
          </a:p>
        </p:txBody>
      </p:sp>
      <p:sp>
        <p:nvSpPr>
          <p:cNvPr id="3" name="Foliennummernplatzhalter 2"/>
          <p:cNvSpPr>
            <a:spLocks noGrp="1"/>
          </p:cNvSpPr>
          <p:nvPr>
            <p:ph type="sldNum" sz="quarter" idx="12"/>
          </p:nvPr>
        </p:nvSpPr>
        <p:spPr/>
        <p:txBody>
          <a:bodyPr/>
          <a:lstStyle/>
          <a:p>
            <a:fld id="{1C198799-69ED-41F3-BD93-533E14B4A78A}" type="slidenum">
              <a:rPr lang="de-DE" smtClean="0"/>
              <a:pPr/>
              <a:t>13</a:t>
            </a:fld>
            <a:endParaRPr lang="de-DE" dirty="0"/>
          </a:p>
        </p:txBody>
      </p:sp>
      <p:sp>
        <p:nvSpPr>
          <p:cNvPr id="21" name="Oval 20">
            <a:extLst>
              <a:ext uri="{FF2B5EF4-FFF2-40B4-BE49-F238E27FC236}">
                <a16:creationId xmlns:a16="http://schemas.microsoft.com/office/drawing/2014/main" xmlns="" id="{66753BB9-9BDA-4386-9A48-B1C6159E3CB5}"/>
              </a:ext>
            </a:extLst>
          </p:cNvPr>
          <p:cNvSpPr/>
          <p:nvPr/>
        </p:nvSpPr>
        <p:spPr bwMode="ltGray">
          <a:xfrm>
            <a:off x="9809947" y="2338260"/>
            <a:ext cx="651371" cy="582545"/>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solidFill>
                <a:schemeClr val="bg1"/>
              </a:solidFill>
              <a:latin typeface="Georgia" pitchFamily="18" charset="0"/>
            </a:endParaRPr>
          </a:p>
        </p:txBody>
      </p:sp>
      <p:sp>
        <p:nvSpPr>
          <p:cNvPr id="22" name="Freeform 121">
            <a:extLst>
              <a:ext uri="{FF2B5EF4-FFF2-40B4-BE49-F238E27FC236}">
                <a16:creationId xmlns:a16="http://schemas.microsoft.com/office/drawing/2014/main" xmlns="" id="{555AF879-4EAA-49DC-B062-5C9097945541}"/>
              </a:ext>
            </a:extLst>
          </p:cNvPr>
          <p:cNvSpPr>
            <a:spLocks noEditPoints="1"/>
          </p:cNvSpPr>
          <p:nvPr/>
        </p:nvSpPr>
        <p:spPr bwMode="auto">
          <a:xfrm>
            <a:off x="9948831" y="2429983"/>
            <a:ext cx="373600" cy="372935"/>
          </a:xfrm>
          <a:custGeom>
            <a:avLst/>
            <a:gdLst>
              <a:gd name="T0" fmla="*/ 2604 w 2644"/>
              <a:gd name="T1" fmla="*/ 992 h 2388"/>
              <a:gd name="T2" fmla="*/ 2644 w 2644"/>
              <a:gd name="T3" fmla="*/ 1318 h 2388"/>
              <a:gd name="T4" fmla="*/ 2566 w 2644"/>
              <a:gd name="T5" fmla="*/ 1778 h 2388"/>
              <a:gd name="T6" fmla="*/ 2354 w 2644"/>
              <a:gd name="T7" fmla="*/ 2174 h 2388"/>
              <a:gd name="T8" fmla="*/ 1834 w 2644"/>
              <a:gd name="T9" fmla="*/ 2388 h 2388"/>
              <a:gd name="T10" fmla="*/ 1980 w 2644"/>
              <a:gd name="T11" fmla="*/ 2128 h 2388"/>
              <a:gd name="T12" fmla="*/ 2064 w 2644"/>
              <a:gd name="T13" fmla="*/ 1822 h 2388"/>
              <a:gd name="T14" fmla="*/ 2080 w 2644"/>
              <a:gd name="T15" fmla="*/ 1542 h 2388"/>
              <a:gd name="T16" fmla="*/ 2030 w 2644"/>
              <a:gd name="T17" fmla="*/ 1218 h 2388"/>
              <a:gd name="T18" fmla="*/ 1914 w 2644"/>
              <a:gd name="T19" fmla="*/ 932 h 2388"/>
              <a:gd name="T20" fmla="*/ 1812 w 2644"/>
              <a:gd name="T21" fmla="*/ 2102 h 2388"/>
              <a:gd name="T22" fmla="*/ 1904 w 2644"/>
              <a:gd name="T23" fmla="*/ 1796 h 2388"/>
              <a:gd name="T24" fmla="*/ 1910 w 2644"/>
              <a:gd name="T25" fmla="*/ 1454 h 2388"/>
              <a:gd name="T26" fmla="*/ 1796 w 2644"/>
              <a:gd name="T27" fmla="*/ 1058 h 2388"/>
              <a:gd name="T28" fmla="*/ 1476 w 2644"/>
              <a:gd name="T29" fmla="*/ 992 h 2388"/>
              <a:gd name="T30" fmla="*/ 1220 w 2644"/>
              <a:gd name="T31" fmla="*/ 764 h 2388"/>
              <a:gd name="T32" fmla="*/ 1046 w 2644"/>
              <a:gd name="T33" fmla="*/ 434 h 2388"/>
              <a:gd name="T34" fmla="*/ 1008 w 2644"/>
              <a:gd name="T35" fmla="*/ 228 h 2388"/>
              <a:gd name="T36" fmla="*/ 986 w 2644"/>
              <a:gd name="T37" fmla="*/ 116 h 2388"/>
              <a:gd name="T38" fmla="*/ 908 w 2644"/>
              <a:gd name="T39" fmla="*/ 28 h 2388"/>
              <a:gd name="T40" fmla="*/ 792 w 2644"/>
              <a:gd name="T41" fmla="*/ 0 h 2388"/>
              <a:gd name="T42" fmla="*/ 698 w 2644"/>
              <a:gd name="T43" fmla="*/ 28 h 2388"/>
              <a:gd name="T44" fmla="*/ 620 w 2644"/>
              <a:gd name="T45" fmla="*/ 114 h 2388"/>
              <a:gd name="T46" fmla="*/ 598 w 2644"/>
              <a:gd name="T47" fmla="*/ 212 h 2388"/>
              <a:gd name="T48" fmla="*/ 634 w 2644"/>
              <a:gd name="T49" fmla="*/ 460 h 2388"/>
              <a:gd name="T50" fmla="*/ 744 w 2644"/>
              <a:gd name="T51" fmla="*/ 768 h 2388"/>
              <a:gd name="T52" fmla="*/ 782 w 2644"/>
              <a:gd name="T53" fmla="*/ 884 h 2388"/>
              <a:gd name="T54" fmla="*/ 700 w 2644"/>
              <a:gd name="T55" fmla="*/ 974 h 2388"/>
              <a:gd name="T56" fmla="*/ 116 w 2644"/>
              <a:gd name="T57" fmla="*/ 988 h 2388"/>
              <a:gd name="T58" fmla="*/ 36 w 2644"/>
              <a:gd name="T59" fmla="*/ 1056 h 2388"/>
              <a:gd name="T60" fmla="*/ 4 w 2644"/>
              <a:gd name="T61" fmla="*/ 1160 h 2388"/>
              <a:gd name="T62" fmla="*/ 24 w 2644"/>
              <a:gd name="T63" fmla="*/ 1244 h 2388"/>
              <a:gd name="T64" fmla="*/ 92 w 2644"/>
              <a:gd name="T65" fmla="*/ 1316 h 2388"/>
              <a:gd name="T66" fmla="*/ 172 w 2644"/>
              <a:gd name="T67" fmla="*/ 1342 h 2388"/>
              <a:gd name="T68" fmla="*/ 76 w 2644"/>
              <a:gd name="T69" fmla="*/ 1378 h 2388"/>
              <a:gd name="T70" fmla="*/ 12 w 2644"/>
              <a:gd name="T71" fmla="*/ 1458 h 2388"/>
              <a:gd name="T72" fmla="*/ 0 w 2644"/>
              <a:gd name="T73" fmla="*/ 1546 h 2388"/>
              <a:gd name="T74" fmla="*/ 42 w 2644"/>
              <a:gd name="T75" fmla="*/ 1644 h 2388"/>
              <a:gd name="T76" fmla="*/ 130 w 2644"/>
              <a:gd name="T77" fmla="*/ 1704 h 2388"/>
              <a:gd name="T78" fmla="*/ 184 w 2644"/>
              <a:gd name="T79" fmla="*/ 1716 h 2388"/>
              <a:gd name="T80" fmla="*/ 98 w 2644"/>
              <a:gd name="T81" fmla="*/ 1762 h 2388"/>
              <a:gd name="T82" fmla="*/ 48 w 2644"/>
              <a:gd name="T83" fmla="*/ 1844 h 2388"/>
              <a:gd name="T84" fmla="*/ 46 w 2644"/>
              <a:gd name="T85" fmla="*/ 1932 h 2388"/>
              <a:gd name="T86" fmla="*/ 96 w 2644"/>
              <a:gd name="T87" fmla="*/ 2026 h 2388"/>
              <a:gd name="T88" fmla="*/ 190 w 2644"/>
              <a:gd name="T89" fmla="*/ 2076 h 2388"/>
              <a:gd name="T90" fmla="*/ 272 w 2644"/>
              <a:gd name="T91" fmla="*/ 2106 h 2388"/>
              <a:gd name="T92" fmla="*/ 234 w 2644"/>
              <a:gd name="T93" fmla="*/ 2208 h 2388"/>
              <a:gd name="T94" fmla="*/ 254 w 2644"/>
              <a:gd name="T95" fmla="*/ 2286 h 2388"/>
              <a:gd name="T96" fmla="*/ 320 w 2644"/>
              <a:gd name="T97" fmla="*/ 2352 h 2388"/>
              <a:gd name="T98" fmla="*/ 962 w 2644"/>
              <a:gd name="T99" fmla="*/ 2372 h 2388"/>
              <a:gd name="T100" fmla="*/ 1050 w 2644"/>
              <a:gd name="T101" fmla="*/ 2370 h 2388"/>
              <a:gd name="T102" fmla="*/ 1280 w 2644"/>
              <a:gd name="T103" fmla="*/ 2314 h 2388"/>
              <a:gd name="T104" fmla="*/ 1472 w 2644"/>
              <a:gd name="T105" fmla="*/ 2188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44" h="2388">
                <a:moveTo>
                  <a:pt x="1834" y="808"/>
                </a:moveTo>
                <a:lnTo>
                  <a:pt x="2548" y="808"/>
                </a:lnTo>
                <a:lnTo>
                  <a:pt x="2548" y="808"/>
                </a:lnTo>
                <a:lnTo>
                  <a:pt x="2570" y="868"/>
                </a:lnTo>
                <a:lnTo>
                  <a:pt x="2588" y="930"/>
                </a:lnTo>
                <a:lnTo>
                  <a:pt x="2604" y="992"/>
                </a:lnTo>
                <a:lnTo>
                  <a:pt x="2618" y="1056"/>
                </a:lnTo>
                <a:lnTo>
                  <a:pt x="2630" y="1120"/>
                </a:lnTo>
                <a:lnTo>
                  <a:pt x="2638" y="1184"/>
                </a:lnTo>
                <a:lnTo>
                  <a:pt x="2642" y="1252"/>
                </a:lnTo>
                <a:lnTo>
                  <a:pt x="2644" y="1318"/>
                </a:lnTo>
                <a:lnTo>
                  <a:pt x="2644" y="1318"/>
                </a:lnTo>
                <a:lnTo>
                  <a:pt x="2642" y="1398"/>
                </a:lnTo>
                <a:lnTo>
                  <a:pt x="2634" y="1476"/>
                </a:lnTo>
                <a:lnTo>
                  <a:pt x="2624" y="1554"/>
                </a:lnTo>
                <a:lnTo>
                  <a:pt x="2608" y="1630"/>
                </a:lnTo>
                <a:lnTo>
                  <a:pt x="2590" y="1704"/>
                </a:lnTo>
                <a:lnTo>
                  <a:pt x="2566" y="1778"/>
                </a:lnTo>
                <a:lnTo>
                  <a:pt x="2540" y="1848"/>
                </a:lnTo>
                <a:lnTo>
                  <a:pt x="2510" y="1918"/>
                </a:lnTo>
                <a:lnTo>
                  <a:pt x="2476" y="1984"/>
                </a:lnTo>
                <a:lnTo>
                  <a:pt x="2438" y="2050"/>
                </a:lnTo>
                <a:lnTo>
                  <a:pt x="2398" y="2112"/>
                </a:lnTo>
                <a:lnTo>
                  <a:pt x="2354" y="2174"/>
                </a:lnTo>
                <a:lnTo>
                  <a:pt x="2306" y="2230"/>
                </a:lnTo>
                <a:lnTo>
                  <a:pt x="2256" y="2286"/>
                </a:lnTo>
                <a:lnTo>
                  <a:pt x="2204" y="2338"/>
                </a:lnTo>
                <a:lnTo>
                  <a:pt x="2148" y="2388"/>
                </a:lnTo>
                <a:lnTo>
                  <a:pt x="1834" y="2388"/>
                </a:lnTo>
                <a:lnTo>
                  <a:pt x="1834" y="2388"/>
                </a:lnTo>
                <a:lnTo>
                  <a:pt x="1862" y="2348"/>
                </a:lnTo>
                <a:lnTo>
                  <a:pt x="1888" y="2308"/>
                </a:lnTo>
                <a:lnTo>
                  <a:pt x="1914" y="2264"/>
                </a:lnTo>
                <a:lnTo>
                  <a:pt x="1938" y="2220"/>
                </a:lnTo>
                <a:lnTo>
                  <a:pt x="1960" y="2174"/>
                </a:lnTo>
                <a:lnTo>
                  <a:pt x="1980" y="2128"/>
                </a:lnTo>
                <a:lnTo>
                  <a:pt x="1998" y="2080"/>
                </a:lnTo>
                <a:lnTo>
                  <a:pt x="2016" y="2030"/>
                </a:lnTo>
                <a:lnTo>
                  <a:pt x="2030" y="1980"/>
                </a:lnTo>
                <a:lnTo>
                  <a:pt x="2044" y="1928"/>
                </a:lnTo>
                <a:lnTo>
                  <a:pt x="2056" y="1874"/>
                </a:lnTo>
                <a:lnTo>
                  <a:pt x="2064" y="1822"/>
                </a:lnTo>
                <a:lnTo>
                  <a:pt x="2072" y="1766"/>
                </a:lnTo>
                <a:lnTo>
                  <a:pt x="2078" y="1712"/>
                </a:lnTo>
                <a:lnTo>
                  <a:pt x="2080" y="1656"/>
                </a:lnTo>
                <a:lnTo>
                  <a:pt x="2082" y="1598"/>
                </a:lnTo>
                <a:lnTo>
                  <a:pt x="2082" y="1598"/>
                </a:lnTo>
                <a:lnTo>
                  <a:pt x="2080" y="1542"/>
                </a:lnTo>
                <a:lnTo>
                  <a:pt x="2078" y="1486"/>
                </a:lnTo>
                <a:lnTo>
                  <a:pt x="2072" y="1430"/>
                </a:lnTo>
                <a:lnTo>
                  <a:pt x="2064" y="1376"/>
                </a:lnTo>
                <a:lnTo>
                  <a:pt x="2056" y="1322"/>
                </a:lnTo>
                <a:lnTo>
                  <a:pt x="2044" y="1270"/>
                </a:lnTo>
                <a:lnTo>
                  <a:pt x="2030" y="1218"/>
                </a:lnTo>
                <a:lnTo>
                  <a:pt x="2016" y="1168"/>
                </a:lnTo>
                <a:lnTo>
                  <a:pt x="1998" y="1118"/>
                </a:lnTo>
                <a:lnTo>
                  <a:pt x="1980" y="1070"/>
                </a:lnTo>
                <a:lnTo>
                  <a:pt x="1960" y="1022"/>
                </a:lnTo>
                <a:lnTo>
                  <a:pt x="1938" y="976"/>
                </a:lnTo>
                <a:lnTo>
                  <a:pt x="1914" y="932"/>
                </a:lnTo>
                <a:lnTo>
                  <a:pt x="1888" y="890"/>
                </a:lnTo>
                <a:lnTo>
                  <a:pt x="1862" y="848"/>
                </a:lnTo>
                <a:lnTo>
                  <a:pt x="1834" y="808"/>
                </a:lnTo>
                <a:lnTo>
                  <a:pt x="1834" y="808"/>
                </a:lnTo>
                <a:close/>
                <a:moveTo>
                  <a:pt x="1548" y="2102"/>
                </a:moveTo>
                <a:lnTo>
                  <a:pt x="1812" y="2102"/>
                </a:lnTo>
                <a:lnTo>
                  <a:pt x="1812" y="2102"/>
                </a:lnTo>
                <a:lnTo>
                  <a:pt x="1836" y="2044"/>
                </a:lnTo>
                <a:lnTo>
                  <a:pt x="1858" y="1984"/>
                </a:lnTo>
                <a:lnTo>
                  <a:pt x="1876" y="1922"/>
                </a:lnTo>
                <a:lnTo>
                  <a:pt x="1892" y="1860"/>
                </a:lnTo>
                <a:lnTo>
                  <a:pt x="1904" y="1796"/>
                </a:lnTo>
                <a:lnTo>
                  <a:pt x="1912" y="1732"/>
                </a:lnTo>
                <a:lnTo>
                  <a:pt x="1918" y="1666"/>
                </a:lnTo>
                <a:lnTo>
                  <a:pt x="1918" y="1598"/>
                </a:lnTo>
                <a:lnTo>
                  <a:pt x="1918" y="1598"/>
                </a:lnTo>
                <a:lnTo>
                  <a:pt x="1916" y="1526"/>
                </a:lnTo>
                <a:lnTo>
                  <a:pt x="1910" y="1454"/>
                </a:lnTo>
                <a:lnTo>
                  <a:pt x="1900" y="1384"/>
                </a:lnTo>
                <a:lnTo>
                  <a:pt x="1888" y="1316"/>
                </a:lnTo>
                <a:lnTo>
                  <a:pt x="1870" y="1248"/>
                </a:lnTo>
                <a:lnTo>
                  <a:pt x="1848" y="1182"/>
                </a:lnTo>
                <a:lnTo>
                  <a:pt x="1824" y="1118"/>
                </a:lnTo>
                <a:lnTo>
                  <a:pt x="1796" y="1058"/>
                </a:lnTo>
                <a:lnTo>
                  <a:pt x="1600" y="1058"/>
                </a:lnTo>
                <a:lnTo>
                  <a:pt x="1600" y="1058"/>
                </a:lnTo>
                <a:lnTo>
                  <a:pt x="1568" y="1042"/>
                </a:lnTo>
                <a:lnTo>
                  <a:pt x="1536" y="1026"/>
                </a:lnTo>
                <a:lnTo>
                  <a:pt x="1506" y="1010"/>
                </a:lnTo>
                <a:lnTo>
                  <a:pt x="1476" y="992"/>
                </a:lnTo>
                <a:lnTo>
                  <a:pt x="1448" y="974"/>
                </a:lnTo>
                <a:lnTo>
                  <a:pt x="1418" y="954"/>
                </a:lnTo>
                <a:lnTo>
                  <a:pt x="1364" y="912"/>
                </a:lnTo>
                <a:lnTo>
                  <a:pt x="1314" y="866"/>
                </a:lnTo>
                <a:lnTo>
                  <a:pt x="1266" y="816"/>
                </a:lnTo>
                <a:lnTo>
                  <a:pt x="1220" y="764"/>
                </a:lnTo>
                <a:lnTo>
                  <a:pt x="1180" y="710"/>
                </a:lnTo>
                <a:lnTo>
                  <a:pt x="1144" y="652"/>
                </a:lnTo>
                <a:lnTo>
                  <a:pt x="1110" y="592"/>
                </a:lnTo>
                <a:lnTo>
                  <a:pt x="1082" y="530"/>
                </a:lnTo>
                <a:lnTo>
                  <a:pt x="1058" y="466"/>
                </a:lnTo>
                <a:lnTo>
                  <a:pt x="1046" y="434"/>
                </a:lnTo>
                <a:lnTo>
                  <a:pt x="1038" y="400"/>
                </a:lnTo>
                <a:lnTo>
                  <a:pt x="1030" y="366"/>
                </a:lnTo>
                <a:lnTo>
                  <a:pt x="1022" y="332"/>
                </a:lnTo>
                <a:lnTo>
                  <a:pt x="1016" y="298"/>
                </a:lnTo>
                <a:lnTo>
                  <a:pt x="1012" y="264"/>
                </a:lnTo>
                <a:lnTo>
                  <a:pt x="1008" y="228"/>
                </a:lnTo>
                <a:lnTo>
                  <a:pt x="1006" y="194"/>
                </a:lnTo>
                <a:lnTo>
                  <a:pt x="1006" y="194"/>
                </a:lnTo>
                <a:lnTo>
                  <a:pt x="1004" y="172"/>
                </a:lnTo>
                <a:lnTo>
                  <a:pt x="1000" y="152"/>
                </a:lnTo>
                <a:lnTo>
                  <a:pt x="994" y="134"/>
                </a:lnTo>
                <a:lnTo>
                  <a:pt x="986" y="116"/>
                </a:lnTo>
                <a:lnTo>
                  <a:pt x="976" y="98"/>
                </a:lnTo>
                <a:lnTo>
                  <a:pt x="966" y="82"/>
                </a:lnTo>
                <a:lnTo>
                  <a:pt x="952" y="66"/>
                </a:lnTo>
                <a:lnTo>
                  <a:pt x="938" y="52"/>
                </a:lnTo>
                <a:lnTo>
                  <a:pt x="924" y="40"/>
                </a:lnTo>
                <a:lnTo>
                  <a:pt x="908" y="28"/>
                </a:lnTo>
                <a:lnTo>
                  <a:pt x="890" y="20"/>
                </a:lnTo>
                <a:lnTo>
                  <a:pt x="872" y="12"/>
                </a:lnTo>
                <a:lnTo>
                  <a:pt x="854" y="6"/>
                </a:lnTo>
                <a:lnTo>
                  <a:pt x="834" y="2"/>
                </a:lnTo>
                <a:lnTo>
                  <a:pt x="814" y="0"/>
                </a:lnTo>
                <a:lnTo>
                  <a:pt x="792" y="0"/>
                </a:lnTo>
                <a:lnTo>
                  <a:pt x="792" y="0"/>
                </a:lnTo>
                <a:lnTo>
                  <a:pt x="772" y="2"/>
                </a:lnTo>
                <a:lnTo>
                  <a:pt x="752" y="6"/>
                </a:lnTo>
                <a:lnTo>
                  <a:pt x="732" y="12"/>
                </a:lnTo>
                <a:lnTo>
                  <a:pt x="714" y="20"/>
                </a:lnTo>
                <a:lnTo>
                  <a:pt x="698" y="28"/>
                </a:lnTo>
                <a:lnTo>
                  <a:pt x="680" y="40"/>
                </a:lnTo>
                <a:lnTo>
                  <a:pt x="666" y="52"/>
                </a:lnTo>
                <a:lnTo>
                  <a:pt x="652" y="66"/>
                </a:lnTo>
                <a:lnTo>
                  <a:pt x="640" y="80"/>
                </a:lnTo>
                <a:lnTo>
                  <a:pt x="628" y="98"/>
                </a:lnTo>
                <a:lnTo>
                  <a:pt x="620" y="114"/>
                </a:lnTo>
                <a:lnTo>
                  <a:pt x="612" y="132"/>
                </a:lnTo>
                <a:lnTo>
                  <a:pt x="606" y="152"/>
                </a:lnTo>
                <a:lnTo>
                  <a:pt x="602" y="172"/>
                </a:lnTo>
                <a:lnTo>
                  <a:pt x="600" y="192"/>
                </a:lnTo>
                <a:lnTo>
                  <a:pt x="598" y="212"/>
                </a:lnTo>
                <a:lnTo>
                  <a:pt x="598" y="212"/>
                </a:lnTo>
                <a:lnTo>
                  <a:pt x="602" y="254"/>
                </a:lnTo>
                <a:lnTo>
                  <a:pt x="606" y="296"/>
                </a:lnTo>
                <a:lnTo>
                  <a:pt x="610" y="338"/>
                </a:lnTo>
                <a:lnTo>
                  <a:pt x="616" y="378"/>
                </a:lnTo>
                <a:lnTo>
                  <a:pt x="624" y="418"/>
                </a:lnTo>
                <a:lnTo>
                  <a:pt x="634" y="460"/>
                </a:lnTo>
                <a:lnTo>
                  <a:pt x="642" y="500"/>
                </a:lnTo>
                <a:lnTo>
                  <a:pt x="654" y="538"/>
                </a:lnTo>
                <a:lnTo>
                  <a:pt x="666" y="578"/>
                </a:lnTo>
                <a:lnTo>
                  <a:pt x="680" y="616"/>
                </a:lnTo>
                <a:lnTo>
                  <a:pt x="710" y="692"/>
                </a:lnTo>
                <a:lnTo>
                  <a:pt x="744" y="768"/>
                </a:lnTo>
                <a:lnTo>
                  <a:pt x="782" y="838"/>
                </a:lnTo>
                <a:lnTo>
                  <a:pt x="782" y="838"/>
                </a:lnTo>
                <a:lnTo>
                  <a:pt x="782" y="840"/>
                </a:lnTo>
                <a:lnTo>
                  <a:pt x="782" y="840"/>
                </a:lnTo>
                <a:lnTo>
                  <a:pt x="784" y="862"/>
                </a:lnTo>
                <a:lnTo>
                  <a:pt x="782" y="884"/>
                </a:lnTo>
                <a:lnTo>
                  <a:pt x="776" y="904"/>
                </a:lnTo>
                <a:lnTo>
                  <a:pt x="766" y="922"/>
                </a:lnTo>
                <a:lnTo>
                  <a:pt x="754" y="940"/>
                </a:lnTo>
                <a:lnTo>
                  <a:pt x="738" y="954"/>
                </a:lnTo>
                <a:lnTo>
                  <a:pt x="720" y="966"/>
                </a:lnTo>
                <a:lnTo>
                  <a:pt x="700" y="974"/>
                </a:lnTo>
                <a:lnTo>
                  <a:pt x="188" y="974"/>
                </a:lnTo>
                <a:lnTo>
                  <a:pt x="188" y="974"/>
                </a:lnTo>
                <a:lnTo>
                  <a:pt x="170" y="976"/>
                </a:lnTo>
                <a:lnTo>
                  <a:pt x="152" y="978"/>
                </a:lnTo>
                <a:lnTo>
                  <a:pt x="134" y="982"/>
                </a:lnTo>
                <a:lnTo>
                  <a:pt x="116" y="988"/>
                </a:lnTo>
                <a:lnTo>
                  <a:pt x="100" y="996"/>
                </a:lnTo>
                <a:lnTo>
                  <a:pt x="86" y="1006"/>
                </a:lnTo>
                <a:lnTo>
                  <a:pt x="70" y="1016"/>
                </a:lnTo>
                <a:lnTo>
                  <a:pt x="58" y="1028"/>
                </a:lnTo>
                <a:lnTo>
                  <a:pt x="46" y="1042"/>
                </a:lnTo>
                <a:lnTo>
                  <a:pt x="36" y="1056"/>
                </a:lnTo>
                <a:lnTo>
                  <a:pt x="26" y="1072"/>
                </a:lnTo>
                <a:lnTo>
                  <a:pt x="18" y="1088"/>
                </a:lnTo>
                <a:lnTo>
                  <a:pt x="12" y="1104"/>
                </a:lnTo>
                <a:lnTo>
                  <a:pt x="8" y="1122"/>
                </a:lnTo>
                <a:lnTo>
                  <a:pt x="4" y="1140"/>
                </a:lnTo>
                <a:lnTo>
                  <a:pt x="4" y="1160"/>
                </a:lnTo>
                <a:lnTo>
                  <a:pt x="4" y="1160"/>
                </a:lnTo>
                <a:lnTo>
                  <a:pt x="4" y="1178"/>
                </a:lnTo>
                <a:lnTo>
                  <a:pt x="6" y="1194"/>
                </a:lnTo>
                <a:lnTo>
                  <a:pt x="12" y="1212"/>
                </a:lnTo>
                <a:lnTo>
                  <a:pt x="16" y="1228"/>
                </a:lnTo>
                <a:lnTo>
                  <a:pt x="24" y="1244"/>
                </a:lnTo>
                <a:lnTo>
                  <a:pt x="32" y="1258"/>
                </a:lnTo>
                <a:lnTo>
                  <a:pt x="42" y="1272"/>
                </a:lnTo>
                <a:lnTo>
                  <a:pt x="52" y="1284"/>
                </a:lnTo>
                <a:lnTo>
                  <a:pt x="64" y="1296"/>
                </a:lnTo>
                <a:lnTo>
                  <a:pt x="78" y="1306"/>
                </a:lnTo>
                <a:lnTo>
                  <a:pt x="92" y="1316"/>
                </a:lnTo>
                <a:lnTo>
                  <a:pt x="106" y="1324"/>
                </a:lnTo>
                <a:lnTo>
                  <a:pt x="122" y="1332"/>
                </a:lnTo>
                <a:lnTo>
                  <a:pt x="138" y="1336"/>
                </a:lnTo>
                <a:lnTo>
                  <a:pt x="156" y="1340"/>
                </a:lnTo>
                <a:lnTo>
                  <a:pt x="172" y="1342"/>
                </a:lnTo>
                <a:lnTo>
                  <a:pt x="172" y="1342"/>
                </a:lnTo>
                <a:lnTo>
                  <a:pt x="154" y="1344"/>
                </a:lnTo>
                <a:lnTo>
                  <a:pt x="138" y="1348"/>
                </a:lnTo>
                <a:lnTo>
                  <a:pt x="120" y="1354"/>
                </a:lnTo>
                <a:lnTo>
                  <a:pt x="104" y="1360"/>
                </a:lnTo>
                <a:lnTo>
                  <a:pt x="90" y="1368"/>
                </a:lnTo>
                <a:lnTo>
                  <a:pt x="76" y="1378"/>
                </a:lnTo>
                <a:lnTo>
                  <a:pt x="62" y="1388"/>
                </a:lnTo>
                <a:lnTo>
                  <a:pt x="50" y="1400"/>
                </a:lnTo>
                <a:lnTo>
                  <a:pt x="38" y="1414"/>
                </a:lnTo>
                <a:lnTo>
                  <a:pt x="28" y="1428"/>
                </a:lnTo>
                <a:lnTo>
                  <a:pt x="20" y="1442"/>
                </a:lnTo>
                <a:lnTo>
                  <a:pt x="12" y="1458"/>
                </a:lnTo>
                <a:lnTo>
                  <a:pt x="6" y="1474"/>
                </a:lnTo>
                <a:lnTo>
                  <a:pt x="2" y="1492"/>
                </a:lnTo>
                <a:lnTo>
                  <a:pt x="0" y="1508"/>
                </a:lnTo>
                <a:lnTo>
                  <a:pt x="0" y="1528"/>
                </a:lnTo>
                <a:lnTo>
                  <a:pt x="0" y="1528"/>
                </a:lnTo>
                <a:lnTo>
                  <a:pt x="0" y="1546"/>
                </a:lnTo>
                <a:lnTo>
                  <a:pt x="2" y="1564"/>
                </a:lnTo>
                <a:lnTo>
                  <a:pt x="8" y="1582"/>
                </a:lnTo>
                <a:lnTo>
                  <a:pt x="14" y="1600"/>
                </a:lnTo>
                <a:lnTo>
                  <a:pt x="22" y="1616"/>
                </a:lnTo>
                <a:lnTo>
                  <a:pt x="30" y="1630"/>
                </a:lnTo>
                <a:lnTo>
                  <a:pt x="42" y="1644"/>
                </a:lnTo>
                <a:lnTo>
                  <a:pt x="54" y="1658"/>
                </a:lnTo>
                <a:lnTo>
                  <a:pt x="66" y="1670"/>
                </a:lnTo>
                <a:lnTo>
                  <a:pt x="80" y="1680"/>
                </a:lnTo>
                <a:lnTo>
                  <a:pt x="96" y="1690"/>
                </a:lnTo>
                <a:lnTo>
                  <a:pt x="112" y="1698"/>
                </a:lnTo>
                <a:lnTo>
                  <a:pt x="130" y="1704"/>
                </a:lnTo>
                <a:lnTo>
                  <a:pt x="148" y="1708"/>
                </a:lnTo>
                <a:lnTo>
                  <a:pt x="166" y="1712"/>
                </a:lnTo>
                <a:lnTo>
                  <a:pt x="184" y="1712"/>
                </a:lnTo>
                <a:lnTo>
                  <a:pt x="200" y="1712"/>
                </a:lnTo>
                <a:lnTo>
                  <a:pt x="200" y="1712"/>
                </a:lnTo>
                <a:lnTo>
                  <a:pt x="184" y="1716"/>
                </a:lnTo>
                <a:lnTo>
                  <a:pt x="168" y="1720"/>
                </a:lnTo>
                <a:lnTo>
                  <a:pt x="152" y="1726"/>
                </a:lnTo>
                <a:lnTo>
                  <a:pt x="138" y="1734"/>
                </a:lnTo>
                <a:lnTo>
                  <a:pt x="124" y="1742"/>
                </a:lnTo>
                <a:lnTo>
                  <a:pt x="110" y="1752"/>
                </a:lnTo>
                <a:lnTo>
                  <a:pt x="98" y="1762"/>
                </a:lnTo>
                <a:lnTo>
                  <a:pt x="88" y="1774"/>
                </a:lnTo>
                <a:lnTo>
                  <a:pt x="76" y="1786"/>
                </a:lnTo>
                <a:lnTo>
                  <a:pt x="68" y="1800"/>
                </a:lnTo>
                <a:lnTo>
                  <a:pt x="60" y="1814"/>
                </a:lnTo>
                <a:lnTo>
                  <a:pt x="54" y="1828"/>
                </a:lnTo>
                <a:lnTo>
                  <a:pt x="48" y="1844"/>
                </a:lnTo>
                <a:lnTo>
                  <a:pt x="44" y="1860"/>
                </a:lnTo>
                <a:lnTo>
                  <a:pt x="42" y="1878"/>
                </a:lnTo>
                <a:lnTo>
                  <a:pt x="42" y="1894"/>
                </a:lnTo>
                <a:lnTo>
                  <a:pt x="42" y="1894"/>
                </a:lnTo>
                <a:lnTo>
                  <a:pt x="42" y="1914"/>
                </a:lnTo>
                <a:lnTo>
                  <a:pt x="46" y="1932"/>
                </a:lnTo>
                <a:lnTo>
                  <a:pt x="50" y="1950"/>
                </a:lnTo>
                <a:lnTo>
                  <a:pt x="56" y="1968"/>
                </a:lnTo>
                <a:lnTo>
                  <a:pt x="64" y="1984"/>
                </a:lnTo>
                <a:lnTo>
                  <a:pt x="74" y="1998"/>
                </a:lnTo>
                <a:lnTo>
                  <a:pt x="84" y="2012"/>
                </a:lnTo>
                <a:lnTo>
                  <a:pt x="96" y="2026"/>
                </a:lnTo>
                <a:lnTo>
                  <a:pt x="108" y="2038"/>
                </a:lnTo>
                <a:lnTo>
                  <a:pt x="124" y="2048"/>
                </a:lnTo>
                <a:lnTo>
                  <a:pt x="138" y="2058"/>
                </a:lnTo>
                <a:lnTo>
                  <a:pt x="154" y="2066"/>
                </a:lnTo>
                <a:lnTo>
                  <a:pt x="172" y="2072"/>
                </a:lnTo>
                <a:lnTo>
                  <a:pt x="190" y="2076"/>
                </a:lnTo>
                <a:lnTo>
                  <a:pt x="208" y="2080"/>
                </a:lnTo>
                <a:lnTo>
                  <a:pt x="226" y="2080"/>
                </a:lnTo>
                <a:lnTo>
                  <a:pt x="296" y="2080"/>
                </a:lnTo>
                <a:lnTo>
                  <a:pt x="296" y="2080"/>
                </a:lnTo>
                <a:lnTo>
                  <a:pt x="284" y="2092"/>
                </a:lnTo>
                <a:lnTo>
                  <a:pt x="272" y="2106"/>
                </a:lnTo>
                <a:lnTo>
                  <a:pt x="260" y="2120"/>
                </a:lnTo>
                <a:lnTo>
                  <a:pt x="252" y="2136"/>
                </a:lnTo>
                <a:lnTo>
                  <a:pt x="244" y="2152"/>
                </a:lnTo>
                <a:lnTo>
                  <a:pt x="238" y="2170"/>
                </a:lnTo>
                <a:lnTo>
                  <a:pt x="236" y="2188"/>
                </a:lnTo>
                <a:lnTo>
                  <a:pt x="234" y="2208"/>
                </a:lnTo>
                <a:lnTo>
                  <a:pt x="234" y="2208"/>
                </a:lnTo>
                <a:lnTo>
                  <a:pt x="236" y="2224"/>
                </a:lnTo>
                <a:lnTo>
                  <a:pt x="238" y="2240"/>
                </a:lnTo>
                <a:lnTo>
                  <a:pt x="242" y="2256"/>
                </a:lnTo>
                <a:lnTo>
                  <a:pt x="248" y="2272"/>
                </a:lnTo>
                <a:lnTo>
                  <a:pt x="254" y="2286"/>
                </a:lnTo>
                <a:lnTo>
                  <a:pt x="262" y="2300"/>
                </a:lnTo>
                <a:lnTo>
                  <a:pt x="272" y="2312"/>
                </a:lnTo>
                <a:lnTo>
                  <a:pt x="282" y="2324"/>
                </a:lnTo>
                <a:lnTo>
                  <a:pt x="294" y="2334"/>
                </a:lnTo>
                <a:lnTo>
                  <a:pt x="306" y="2344"/>
                </a:lnTo>
                <a:lnTo>
                  <a:pt x="320" y="2352"/>
                </a:lnTo>
                <a:lnTo>
                  <a:pt x="334" y="2358"/>
                </a:lnTo>
                <a:lnTo>
                  <a:pt x="350" y="2364"/>
                </a:lnTo>
                <a:lnTo>
                  <a:pt x="366" y="2368"/>
                </a:lnTo>
                <a:lnTo>
                  <a:pt x="382" y="2370"/>
                </a:lnTo>
                <a:lnTo>
                  <a:pt x="398" y="2372"/>
                </a:lnTo>
                <a:lnTo>
                  <a:pt x="962" y="2372"/>
                </a:lnTo>
                <a:lnTo>
                  <a:pt x="962" y="2372"/>
                </a:lnTo>
                <a:lnTo>
                  <a:pt x="978" y="2370"/>
                </a:lnTo>
                <a:lnTo>
                  <a:pt x="978" y="2370"/>
                </a:lnTo>
                <a:lnTo>
                  <a:pt x="1010" y="2372"/>
                </a:lnTo>
                <a:lnTo>
                  <a:pt x="1010" y="2372"/>
                </a:lnTo>
                <a:lnTo>
                  <a:pt x="1050" y="2370"/>
                </a:lnTo>
                <a:lnTo>
                  <a:pt x="1092" y="2366"/>
                </a:lnTo>
                <a:lnTo>
                  <a:pt x="1130" y="2360"/>
                </a:lnTo>
                <a:lnTo>
                  <a:pt x="1170" y="2352"/>
                </a:lnTo>
                <a:lnTo>
                  <a:pt x="1208" y="2342"/>
                </a:lnTo>
                <a:lnTo>
                  <a:pt x="1244" y="2330"/>
                </a:lnTo>
                <a:lnTo>
                  <a:pt x="1280" y="2314"/>
                </a:lnTo>
                <a:lnTo>
                  <a:pt x="1316" y="2298"/>
                </a:lnTo>
                <a:lnTo>
                  <a:pt x="1350" y="2280"/>
                </a:lnTo>
                <a:lnTo>
                  <a:pt x="1382" y="2258"/>
                </a:lnTo>
                <a:lnTo>
                  <a:pt x="1414" y="2236"/>
                </a:lnTo>
                <a:lnTo>
                  <a:pt x="1442" y="2212"/>
                </a:lnTo>
                <a:lnTo>
                  <a:pt x="1472" y="2188"/>
                </a:lnTo>
                <a:lnTo>
                  <a:pt x="1498" y="2160"/>
                </a:lnTo>
                <a:lnTo>
                  <a:pt x="1524" y="2132"/>
                </a:lnTo>
                <a:lnTo>
                  <a:pt x="1548" y="2102"/>
                </a:lnTo>
                <a:lnTo>
                  <a:pt x="1548" y="2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 name="Titel 2"/>
          <p:cNvSpPr txBox="1">
            <a:spLocks/>
          </p:cNvSpPr>
          <p:nvPr/>
        </p:nvSpPr>
        <p:spPr>
          <a:xfrm>
            <a:off x="712862" y="644247"/>
            <a:ext cx="4602558" cy="389924"/>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spcAft>
                <a:spcPts val="600"/>
              </a:spcAft>
            </a:pPr>
            <a:r>
              <a:rPr lang="de-DE" dirty="0"/>
              <a:t>Welche Leistungen </a:t>
            </a:r>
            <a:r>
              <a:rPr lang="de-DE" dirty="0" smtClean="0"/>
              <a:t>sind steuerbefreit?</a:t>
            </a:r>
            <a:endParaRPr lang="de-DE" dirty="0"/>
          </a:p>
        </p:txBody>
      </p:sp>
    </p:spTree>
    <p:extLst>
      <p:ext uri="{BB962C8B-B14F-4D97-AF65-F5344CB8AC3E}">
        <p14:creationId xmlns:p14="http://schemas.microsoft.com/office/powerpoint/2010/main" val="29738256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1371"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4" name="Slide Number Placeholder 8">
            <a:extLst>
              <a:ext uri="{FF2B5EF4-FFF2-40B4-BE49-F238E27FC236}">
                <a16:creationId xmlns:a16="http://schemas.microsoft.com/office/drawing/2014/main" xmlns="" id="{F3F1B2F3-4F2F-4D3A-BF5F-1CF6B2A7222E}"/>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
        <p:nvSpPr>
          <p:cNvPr id="8" name="Date Placeholder 7">
            <a:extLst>
              <a:ext uri="{FF2B5EF4-FFF2-40B4-BE49-F238E27FC236}">
                <a16:creationId xmlns:a16="http://schemas.microsoft.com/office/drawing/2014/main" xmlns="" id="{71EF091A-3436-4A30-A71F-490A5C2F0852}"/>
              </a:ext>
            </a:extLst>
          </p:cNvPr>
          <p:cNvSpPr>
            <a:spLocks noGrp="1"/>
          </p:cNvSpPr>
          <p:nvPr>
            <p:ph type="dt" sz="half" idx="10"/>
          </p:nvPr>
        </p:nvSpPr>
        <p:spPr/>
        <p:txBody>
          <a:bodyPr/>
          <a:lstStyle/>
          <a:p>
            <a:fld id="{229FB556-69C5-4BEE-B553-35529C478815}" type="datetime1">
              <a:rPr lang="de-DE" smtClean="0"/>
              <a:t>06.07.2021</a:t>
            </a:fld>
            <a:endParaRPr lang="de-DE" dirty="0"/>
          </a:p>
        </p:txBody>
      </p:sp>
      <p:sp>
        <p:nvSpPr>
          <p:cNvPr id="9" name="Footer Placeholder 8">
            <a:extLst>
              <a:ext uri="{FF2B5EF4-FFF2-40B4-BE49-F238E27FC236}">
                <a16:creationId xmlns:a16="http://schemas.microsoft.com/office/drawing/2014/main" xmlns="" id="{217EC7C4-53AE-424F-9E65-ED6BE2FAB850}"/>
              </a:ext>
            </a:extLst>
          </p:cNvPr>
          <p:cNvSpPr>
            <a:spLocks noGrp="1"/>
          </p:cNvSpPr>
          <p:nvPr>
            <p:ph type="ftr" sz="quarter" idx="11"/>
          </p:nvPr>
        </p:nvSpPr>
        <p:spPr/>
        <p:txBody>
          <a:bodyPr/>
          <a:lstStyle/>
          <a:p>
            <a:r>
              <a:rPr lang="de-DE" dirty="0"/>
              <a:t>EKHN</a:t>
            </a:r>
          </a:p>
        </p:txBody>
      </p:sp>
      <p:sp>
        <p:nvSpPr>
          <p:cNvPr id="7" name="Foliennummernplatzhalter 6"/>
          <p:cNvSpPr>
            <a:spLocks noGrp="1"/>
          </p:cNvSpPr>
          <p:nvPr>
            <p:ph type="sldNum" sz="quarter" idx="12"/>
          </p:nvPr>
        </p:nvSpPr>
        <p:spPr/>
        <p:txBody>
          <a:bodyPr/>
          <a:lstStyle/>
          <a:p>
            <a:fld id="{1C198799-69ED-41F3-BD93-533E14B4A78A}" type="slidenum">
              <a:rPr lang="de-DE" smtClean="0"/>
              <a:pPr/>
              <a:t>14</a:t>
            </a:fld>
            <a:endParaRPr lang="de-DE"/>
          </a:p>
        </p:txBody>
      </p:sp>
      <p:grpSp>
        <p:nvGrpSpPr>
          <p:cNvPr id="11" name="Group 10">
            <a:extLst>
              <a:ext uri="{FF2B5EF4-FFF2-40B4-BE49-F238E27FC236}">
                <a16:creationId xmlns:a16="http://schemas.microsoft.com/office/drawing/2014/main" xmlns="" id="{2E54A101-4F39-4969-8587-3EC0CCC8DCCB}"/>
              </a:ext>
            </a:extLst>
          </p:cNvPr>
          <p:cNvGrpSpPr/>
          <p:nvPr/>
        </p:nvGrpSpPr>
        <p:grpSpPr>
          <a:xfrm>
            <a:off x="1336859" y="1050946"/>
            <a:ext cx="9553209" cy="5372714"/>
            <a:chOff x="1941512" y="1977796"/>
            <a:chExt cx="7950201" cy="4668776"/>
          </a:xfrm>
        </p:grpSpPr>
        <p:grpSp>
          <p:nvGrpSpPr>
            <p:cNvPr id="6" name="Group 5">
              <a:extLst>
                <a:ext uri="{FF2B5EF4-FFF2-40B4-BE49-F238E27FC236}">
                  <a16:creationId xmlns:a16="http://schemas.microsoft.com/office/drawing/2014/main" xmlns="" id="{9DBCFA2E-73BF-42C7-AFB3-FF8D1C91B435}"/>
                </a:ext>
              </a:extLst>
            </p:cNvPr>
            <p:cNvGrpSpPr/>
            <p:nvPr/>
          </p:nvGrpSpPr>
          <p:grpSpPr>
            <a:xfrm>
              <a:off x="1941512" y="1977796"/>
              <a:ext cx="7950201" cy="4668776"/>
              <a:chOff x="2128665" y="1799784"/>
              <a:chExt cx="7950201" cy="4668776"/>
            </a:xfrm>
          </p:grpSpPr>
          <p:sp>
            <p:nvSpPr>
              <p:cNvPr id="13" name="Content Placeholder 6">
                <a:extLst>
                  <a:ext uri="{FF2B5EF4-FFF2-40B4-BE49-F238E27FC236}">
                    <a16:creationId xmlns:a16="http://schemas.microsoft.com/office/drawing/2014/main" xmlns="" id="{360D0BF0-82B9-4621-83D0-018868ACB0FF}"/>
                  </a:ext>
                </a:extLst>
              </p:cNvPr>
              <p:cNvSpPr txBox="1">
                <a:spLocks/>
              </p:cNvSpPr>
              <p:nvPr/>
            </p:nvSpPr>
            <p:spPr>
              <a:xfrm>
                <a:off x="2551463" y="1799784"/>
                <a:ext cx="7117569"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a:p>
                <a:pPr>
                  <a:spcAft>
                    <a:spcPts val="600"/>
                  </a:spcAft>
                </a:pPr>
                <a:r>
                  <a:rPr lang="de-DE" sz="1600" dirty="0">
                    <a:solidFill>
                      <a:schemeClr val="tx1"/>
                    </a:solidFill>
                  </a:rPr>
                  <a:t/>
                </a:r>
                <a:br>
                  <a:rPr lang="de-DE" sz="1600" dirty="0">
                    <a:solidFill>
                      <a:schemeClr val="tx1"/>
                    </a:solidFill>
                  </a:rPr>
                </a:br>
                <a:r>
                  <a:rPr lang="de-DE" u="sng" dirty="0">
                    <a:solidFill>
                      <a:srgbClr val="572381"/>
                    </a:solidFill>
                  </a:rPr>
                  <a:t>Beispiele:</a:t>
                </a:r>
              </a:p>
              <a:p>
                <a:pPr marL="285750" indent="-285750">
                  <a:spcAft>
                    <a:spcPts val="600"/>
                  </a:spcAft>
                  <a:buFont typeface="Arial" panose="020B0604020202020204" pitchFamily="34" charset="0"/>
                  <a:buChar char="•"/>
                </a:pPr>
                <a:r>
                  <a:rPr lang="de-DE" i="1" dirty="0">
                    <a:solidFill>
                      <a:srgbClr val="572381"/>
                    </a:solidFill>
                  </a:rPr>
                  <a:t>Reisen und Fahrten </a:t>
                </a:r>
                <a:r>
                  <a:rPr lang="de-DE" b="0" i="1" dirty="0">
                    <a:solidFill>
                      <a:srgbClr val="572381"/>
                    </a:solidFill>
                  </a:rPr>
                  <a:t>(dringende Empfehlung zur Beauftragung </a:t>
                </a:r>
                <a:r>
                  <a:rPr lang="de-DE" b="0" i="1">
                    <a:solidFill>
                      <a:srgbClr val="572381"/>
                    </a:solidFill>
                  </a:rPr>
                  <a:t>externer </a:t>
                </a:r>
                <a:r>
                  <a:rPr lang="de-DE" b="0" i="1" smtClean="0">
                    <a:solidFill>
                      <a:srgbClr val="572381"/>
                    </a:solidFill>
                  </a:rPr>
                  <a:t>Anbieter)</a:t>
                </a:r>
              </a:p>
              <a:p>
                <a:pPr marL="285750" indent="-285750">
                  <a:spcAft>
                    <a:spcPts val="600"/>
                  </a:spcAft>
                  <a:buFont typeface="Arial" panose="020B0604020202020204" pitchFamily="34" charset="0"/>
                  <a:buChar char="•"/>
                </a:pPr>
                <a:r>
                  <a:rPr lang="de-DE" i="1" smtClean="0">
                    <a:solidFill>
                      <a:srgbClr val="572381"/>
                    </a:solidFill>
                  </a:rPr>
                  <a:t>Basare</a:t>
                </a:r>
                <a:r>
                  <a:rPr lang="de-DE" i="1" dirty="0">
                    <a:solidFill>
                      <a:srgbClr val="572381"/>
                    </a:solidFill>
                  </a:rPr>
                  <a:t>, Börsen, Flohmärkte </a:t>
                </a:r>
                <a:r>
                  <a:rPr lang="de-DE" b="0" i="1" dirty="0">
                    <a:solidFill>
                      <a:srgbClr val="572381"/>
                    </a:solidFill>
                  </a:rPr>
                  <a:t>(Unterscheidung zwischen Kirchengemeinde als Verkäuferin/Vermieterin zu beachten)</a:t>
                </a:r>
              </a:p>
              <a:p>
                <a:pPr marL="285750" indent="-285750">
                  <a:spcAft>
                    <a:spcPts val="600"/>
                  </a:spcAft>
                  <a:buFont typeface="Arial" panose="020B0604020202020204" pitchFamily="34" charset="0"/>
                  <a:buChar char="•"/>
                </a:pPr>
                <a:r>
                  <a:rPr lang="de-DE" i="1" dirty="0">
                    <a:solidFill>
                      <a:srgbClr val="572381"/>
                    </a:solidFill>
                  </a:rPr>
                  <a:t>Bewirtung</a:t>
                </a:r>
                <a:r>
                  <a:rPr lang="de-DE" b="0" i="1" dirty="0">
                    <a:solidFill>
                      <a:srgbClr val="572381"/>
                    </a:solidFill>
                  </a:rPr>
                  <a:t> </a:t>
                </a:r>
                <a:r>
                  <a:rPr lang="de-DE" i="1" dirty="0">
                    <a:solidFill>
                      <a:srgbClr val="572381"/>
                    </a:solidFill>
                  </a:rPr>
                  <a:t>von Gemeindefesten und sonstigen Veranstaltungen </a:t>
                </a:r>
                <a:r>
                  <a:rPr lang="de-DE" b="0" i="1" dirty="0">
                    <a:solidFill>
                      <a:srgbClr val="572381"/>
                    </a:solidFill>
                  </a:rPr>
                  <a:t>(Möglichkeit der unentgeltlichen Abgabe von Speisen und Getränken)</a:t>
                </a:r>
              </a:p>
              <a:p>
                <a:pPr marL="285750" indent="-285750">
                  <a:spcAft>
                    <a:spcPts val="600"/>
                  </a:spcAft>
                  <a:buFont typeface="Arial" panose="020B0604020202020204" pitchFamily="34" charset="0"/>
                  <a:buChar char="•"/>
                </a:pPr>
                <a:r>
                  <a:rPr lang="de-DE" i="1" dirty="0">
                    <a:solidFill>
                      <a:srgbClr val="572381"/>
                    </a:solidFill>
                  </a:rPr>
                  <a:t>Forstwirtschaft</a:t>
                </a:r>
                <a:r>
                  <a:rPr lang="de-DE" b="0" i="1" dirty="0">
                    <a:solidFill>
                      <a:srgbClr val="572381"/>
                    </a:solidFill>
                  </a:rPr>
                  <a:t> (z. B. Holz- und Weihnachtsbaumverkauf)</a:t>
                </a:r>
              </a:p>
              <a:p>
                <a:pPr marL="285750" indent="-285750">
                  <a:spcAft>
                    <a:spcPts val="600"/>
                  </a:spcAft>
                  <a:buFont typeface="Arial" panose="020B0604020202020204" pitchFamily="34" charset="0"/>
                  <a:buChar char="•"/>
                </a:pPr>
                <a:r>
                  <a:rPr lang="de-DE" i="1" dirty="0">
                    <a:solidFill>
                      <a:srgbClr val="572381"/>
                    </a:solidFill>
                  </a:rPr>
                  <a:t>Sonstige Verkäufe </a:t>
                </a:r>
                <a:r>
                  <a:rPr lang="de-DE" b="0" i="1" dirty="0">
                    <a:solidFill>
                      <a:srgbClr val="572381"/>
                    </a:solidFill>
                  </a:rPr>
                  <a:t>(z. B. Eine-Welt-Verkäufe, Verkäufe im Rahmen von </a:t>
                </a:r>
                <a:r>
                  <a:rPr lang="de-DE" b="0" i="1" dirty="0" err="1">
                    <a:solidFill>
                      <a:srgbClr val="572381"/>
                    </a:solidFill>
                  </a:rPr>
                  <a:t>Fundraisingaktionen</a:t>
                </a:r>
                <a:r>
                  <a:rPr lang="de-DE" b="0" i="1" dirty="0">
                    <a:solidFill>
                      <a:srgbClr val="572381"/>
                    </a:solidFill>
                  </a:rPr>
                  <a:t>), für bestimmte Warengruppen (Lebensmittel, Bücher, Broschüren) kann der ermäßigte Steuersatz von 7% angewendet werden</a:t>
                </a:r>
              </a:p>
              <a:p>
                <a:pPr marL="285750" indent="-285750">
                  <a:spcAft>
                    <a:spcPts val="600"/>
                  </a:spcAft>
                  <a:buFont typeface="Arial" panose="020B0604020202020204" pitchFamily="34" charset="0"/>
                  <a:buChar char="•"/>
                </a:pPr>
                <a:r>
                  <a:rPr lang="de-DE" i="1" dirty="0">
                    <a:solidFill>
                      <a:srgbClr val="572381"/>
                    </a:solidFill>
                  </a:rPr>
                  <a:t>Personalkostenerstattungen</a:t>
                </a:r>
                <a:r>
                  <a:rPr lang="de-DE" b="0" i="1" dirty="0">
                    <a:solidFill>
                      <a:srgbClr val="572381"/>
                    </a:solidFill>
                  </a:rPr>
                  <a:t> (alle nicht unter steuerbefreit gelisteten)</a:t>
                </a:r>
                <a:r>
                  <a:rPr lang="de-DE" b="0" i="1" dirty="0">
                    <a:solidFill>
                      <a:schemeClr val="tx1">
                        <a:lumMod val="75000"/>
                        <a:lumOff val="25000"/>
                      </a:schemeClr>
                    </a:solidFill>
                  </a:rPr>
                  <a:t/>
                </a:r>
                <a:br>
                  <a:rPr lang="de-DE" b="0" i="1" dirty="0">
                    <a:solidFill>
                      <a:schemeClr val="tx1">
                        <a:lumMod val="75000"/>
                        <a:lumOff val="25000"/>
                      </a:schemeClr>
                    </a:solidFill>
                  </a:rPr>
                </a:br>
                <a:endParaRPr lang="de-DE" b="0" i="1" dirty="0">
                  <a:solidFill>
                    <a:schemeClr val="tx1">
                      <a:lumMod val="75000"/>
                      <a:lumOff val="25000"/>
                    </a:schemeClr>
                  </a:solidFill>
                </a:endParaRPr>
              </a:p>
            </p:txBody>
          </p:sp>
          <p:grpSp>
            <p:nvGrpSpPr>
              <p:cNvPr id="3" name="Group 2">
                <a:extLst>
                  <a:ext uri="{FF2B5EF4-FFF2-40B4-BE49-F238E27FC236}">
                    <a16:creationId xmlns:a16="http://schemas.microsoft.com/office/drawing/2014/main" xmlns="" id="{F7F716F5-6996-493F-B7BC-DD0A533DD6E4}"/>
                  </a:ext>
                </a:extLst>
              </p:cNvPr>
              <p:cNvGrpSpPr/>
              <p:nvPr/>
            </p:nvGrpSpPr>
            <p:grpSpPr>
              <a:xfrm>
                <a:off x="2128665" y="2371455"/>
                <a:ext cx="7950201" cy="3671609"/>
                <a:chOff x="2128665" y="2371455"/>
                <a:chExt cx="7950201" cy="3671609"/>
              </a:xfrm>
            </p:grpSpPr>
            <p:grpSp>
              <p:nvGrpSpPr>
                <p:cNvPr id="2" name="Group 1">
                  <a:extLst>
                    <a:ext uri="{FF2B5EF4-FFF2-40B4-BE49-F238E27FC236}">
                      <a16:creationId xmlns:a16="http://schemas.microsoft.com/office/drawing/2014/main" xmlns="" id="{319187B1-4131-42DA-ACA1-DC136D5F0AAE}"/>
                    </a:ext>
                  </a:extLst>
                </p:cNvPr>
                <p:cNvGrpSpPr/>
                <p:nvPr/>
              </p:nvGrpSpPr>
              <p:grpSpPr>
                <a:xfrm>
                  <a:off x="2128665" y="2371455"/>
                  <a:ext cx="7950201" cy="3671609"/>
                  <a:chOff x="1963820" y="1974441"/>
                  <a:chExt cx="7950201" cy="4228026"/>
                </a:xfrm>
              </p:grpSpPr>
              <p:sp>
                <p:nvSpPr>
                  <p:cNvPr id="19" name="Rectangle 18">
                    <a:extLst>
                      <a:ext uri="{FF2B5EF4-FFF2-40B4-BE49-F238E27FC236}">
                        <a16:creationId xmlns:a16="http://schemas.microsoft.com/office/drawing/2014/main" xmlns="" id="{A0407787-D308-481C-BA84-4558324D1569}"/>
                      </a:ext>
                    </a:extLst>
                  </p:cNvPr>
                  <p:cNvSpPr/>
                  <p:nvPr/>
                </p:nvSpPr>
                <p:spPr>
                  <a:xfrm>
                    <a:off x="1963820" y="2330596"/>
                    <a:ext cx="7950201" cy="3871871"/>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20"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a:solidFill>
                          <a:schemeClr val="bg1"/>
                        </a:solidFill>
                        <a:latin typeface="Calibri" panose="020F0502020204030204" pitchFamily="34" charset="0"/>
                        <a:cs typeface="Calibri" panose="020F0502020204030204" pitchFamily="34" charset="0"/>
                      </a:rPr>
                      <a:t>Steuerpflichtige Leistungen</a:t>
                    </a:r>
                  </a:p>
                </p:txBody>
              </p:sp>
            </p:grpSp>
            <p:sp>
              <p:nvSpPr>
                <p:cNvPr id="27" name="Freeform 133">
                  <a:extLst>
                    <a:ext uri="{FF2B5EF4-FFF2-40B4-BE49-F238E27FC236}">
                      <a16:creationId xmlns:a16="http://schemas.microsoft.com/office/drawing/2014/main" xmlns="" id="{6BC0B30F-92DD-41E5-A54C-19F4C86DDF08}"/>
                    </a:ext>
                  </a:extLst>
                </p:cNvPr>
                <p:cNvSpPr>
                  <a:spLocks noEditPoints="1"/>
                </p:cNvSpPr>
                <p:nvPr/>
              </p:nvSpPr>
              <p:spPr bwMode="auto">
                <a:xfrm>
                  <a:off x="9201657" y="3037424"/>
                  <a:ext cx="425133" cy="264375"/>
                </a:xfrm>
                <a:custGeom>
                  <a:avLst/>
                  <a:gdLst>
                    <a:gd name="T0" fmla="*/ 2598 w 2668"/>
                    <a:gd name="T1" fmla="*/ 1310 h 1814"/>
                    <a:gd name="T2" fmla="*/ 2638 w 2668"/>
                    <a:gd name="T3" fmla="*/ 1298 h 1814"/>
                    <a:gd name="T4" fmla="*/ 2666 w 2668"/>
                    <a:gd name="T5" fmla="*/ 1254 h 1814"/>
                    <a:gd name="T6" fmla="*/ 2662 w 2668"/>
                    <a:gd name="T7" fmla="*/ 1212 h 1814"/>
                    <a:gd name="T8" fmla="*/ 2482 w 2668"/>
                    <a:gd name="T9" fmla="*/ 986 h 1814"/>
                    <a:gd name="T10" fmla="*/ 2428 w 2668"/>
                    <a:gd name="T11" fmla="*/ 960 h 1814"/>
                    <a:gd name="T12" fmla="*/ 2456 w 2668"/>
                    <a:gd name="T13" fmla="*/ 562 h 1814"/>
                    <a:gd name="T14" fmla="*/ 2456 w 2668"/>
                    <a:gd name="T15" fmla="*/ 178 h 1814"/>
                    <a:gd name="T16" fmla="*/ 2254 w 2668"/>
                    <a:gd name="T17" fmla="*/ 54 h 1814"/>
                    <a:gd name="T18" fmla="*/ 2224 w 2668"/>
                    <a:gd name="T19" fmla="*/ 10 h 1814"/>
                    <a:gd name="T20" fmla="*/ 2186 w 2668"/>
                    <a:gd name="T21" fmla="*/ 0 h 1814"/>
                    <a:gd name="T22" fmla="*/ 2138 w 2668"/>
                    <a:gd name="T23" fmla="*/ 20 h 1814"/>
                    <a:gd name="T24" fmla="*/ 2118 w 2668"/>
                    <a:gd name="T25" fmla="*/ 68 h 1814"/>
                    <a:gd name="T26" fmla="*/ 550 w 2668"/>
                    <a:gd name="T27" fmla="*/ 68 h 1814"/>
                    <a:gd name="T28" fmla="*/ 528 w 2668"/>
                    <a:gd name="T29" fmla="*/ 20 h 1814"/>
                    <a:gd name="T30" fmla="*/ 480 w 2668"/>
                    <a:gd name="T31" fmla="*/ 0 h 1814"/>
                    <a:gd name="T32" fmla="*/ 442 w 2668"/>
                    <a:gd name="T33" fmla="*/ 10 h 1814"/>
                    <a:gd name="T34" fmla="*/ 414 w 2668"/>
                    <a:gd name="T35" fmla="*/ 54 h 1814"/>
                    <a:gd name="T36" fmla="*/ 210 w 2668"/>
                    <a:gd name="T37" fmla="*/ 424 h 1814"/>
                    <a:gd name="T38" fmla="*/ 210 w 2668"/>
                    <a:gd name="T39" fmla="*/ 808 h 1814"/>
                    <a:gd name="T40" fmla="*/ 282 w 2668"/>
                    <a:gd name="T41" fmla="*/ 960 h 1814"/>
                    <a:gd name="T42" fmla="*/ 234 w 2668"/>
                    <a:gd name="T43" fmla="*/ 980 h 1814"/>
                    <a:gd name="T44" fmla="*/ 8 w 2668"/>
                    <a:gd name="T45" fmla="*/ 1208 h 1814"/>
                    <a:gd name="T46" fmla="*/ 0 w 2668"/>
                    <a:gd name="T47" fmla="*/ 1246 h 1814"/>
                    <a:gd name="T48" fmla="*/ 10 w 2668"/>
                    <a:gd name="T49" fmla="*/ 1276 h 1814"/>
                    <a:gd name="T50" fmla="*/ 38 w 2668"/>
                    <a:gd name="T51" fmla="*/ 1302 h 1814"/>
                    <a:gd name="T52" fmla="*/ 68 w 2668"/>
                    <a:gd name="T53" fmla="*/ 1310 h 1814"/>
                    <a:gd name="T54" fmla="*/ 2118 w 2668"/>
                    <a:gd name="T55" fmla="*/ 960 h 1814"/>
                    <a:gd name="T56" fmla="*/ 550 w 2668"/>
                    <a:gd name="T57" fmla="*/ 562 h 1814"/>
                    <a:gd name="T58" fmla="*/ 2666 w 2668"/>
                    <a:gd name="T59" fmla="*/ 1456 h 1814"/>
                    <a:gd name="T60" fmla="*/ 2646 w 2668"/>
                    <a:gd name="T61" fmla="*/ 1504 h 1814"/>
                    <a:gd name="T62" fmla="*/ 2598 w 2668"/>
                    <a:gd name="T63" fmla="*/ 1524 h 1814"/>
                    <a:gd name="T64" fmla="*/ 2402 w 2668"/>
                    <a:gd name="T65" fmla="*/ 1760 h 1814"/>
                    <a:gd name="T66" fmla="*/ 2374 w 2668"/>
                    <a:gd name="T67" fmla="*/ 1802 h 1814"/>
                    <a:gd name="T68" fmla="*/ 2186 w 2668"/>
                    <a:gd name="T69" fmla="*/ 1814 h 1814"/>
                    <a:gd name="T70" fmla="*/ 2148 w 2668"/>
                    <a:gd name="T71" fmla="*/ 1802 h 1814"/>
                    <a:gd name="T72" fmla="*/ 2118 w 2668"/>
                    <a:gd name="T73" fmla="*/ 1760 h 1814"/>
                    <a:gd name="T74" fmla="*/ 550 w 2668"/>
                    <a:gd name="T75" fmla="*/ 1746 h 1814"/>
                    <a:gd name="T76" fmla="*/ 538 w 2668"/>
                    <a:gd name="T77" fmla="*/ 1784 h 1814"/>
                    <a:gd name="T78" fmla="*/ 494 w 2668"/>
                    <a:gd name="T79" fmla="*/ 1812 h 1814"/>
                    <a:gd name="T80" fmla="*/ 318 w 2668"/>
                    <a:gd name="T81" fmla="*/ 1812 h 1814"/>
                    <a:gd name="T82" fmla="*/ 274 w 2668"/>
                    <a:gd name="T83" fmla="*/ 1784 h 1814"/>
                    <a:gd name="T84" fmla="*/ 262 w 2668"/>
                    <a:gd name="T85" fmla="*/ 1524 h 1814"/>
                    <a:gd name="T86" fmla="*/ 42 w 2668"/>
                    <a:gd name="T87" fmla="*/ 1520 h 1814"/>
                    <a:gd name="T88" fmla="*/ 6 w 2668"/>
                    <a:gd name="T89" fmla="*/ 1482 h 1814"/>
                    <a:gd name="T90" fmla="*/ 2 w 2668"/>
                    <a:gd name="T91" fmla="*/ 1442 h 1814"/>
                    <a:gd name="T92" fmla="*/ 30 w 2668"/>
                    <a:gd name="T93" fmla="*/ 1398 h 1814"/>
                    <a:gd name="T94" fmla="*/ 332 w 2668"/>
                    <a:gd name="T95" fmla="*/ 1388 h 1814"/>
                    <a:gd name="T96" fmla="*/ 2598 w 2668"/>
                    <a:gd name="T97" fmla="*/ 1388 h 1814"/>
                    <a:gd name="T98" fmla="*/ 2636 w 2668"/>
                    <a:gd name="T99" fmla="*/ 1398 h 1814"/>
                    <a:gd name="T100" fmla="*/ 2666 w 2668"/>
                    <a:gd name="T101" fmla="*/ 1442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8" h="1814">
                      <a:moveTo>
                        <a:pt x="68" y="1310"/>
                      </a:moveTo>
                      <a:lnTo>
                        <a:pt x="2598" y="1310"/>
                      </a:lnTo>
                      <a:lnTo>
                        <a:pt x="2598" y="1310"/>
                      </a:lnTo>
                      <a:lnTo>
                        <a:pt x="2598" y="1310"/>
                      </a:lnTo>
                      <a:lnTo>
                        <a:pt x="2598" y="1310"/>
                      </a:lnTo>
                      <a:lnTo>
                        <a:pt x="2612" y="1308"/>
                      </a:lnTo>
                      <a:lnTo>
                        <a:pt x="2626" y="1304"/>
                      </a:lnTo>
                      <a:lnTo>
                        <a:pt x="2638" y="1298"/>
                      </a:lnTo>
                      <a:lnTo>
                        <a:pt x="2648" y="1290"/>
                      </a:lnTo>
                      <a:lnTo>
                        <a:pt x="2656" y="1278"/>
                      </a:lnTo>
                      <a:lnTo>
                        <a:pt x="2662" y="1268"/>
                      </a:lnTo>
                      <a:lnTo>
                        <a:pt x="2666" y="1254"/>
                      </a:lnTo>
                      <a:lnTo>
                        <a:pt x="2668" y="1240"/>
                      </a:lnTo>
                      <a:lnTo>
                        <a:pt x="2668" y="1240"/>
                      </a:lnTo>
                      <a:lnTo>
                        <a:pt x="2666" y="1226"/>
                      </a:lnTo>
                      <a:lnTo>
                        <a:pt x="2662" y="1212"/>
                      </a:lnTo>
                      <a:lnTo>
                        <a:pt x="2654" y="1200"/>
                      </a:lnTo>
                      <a:lnTo>
                        <a:pt x="2646" y="1190"/>
                      </a:lnTo>
                      <a:lnTo>
                        <a:pt x="2482" y="986"/>
                      </a:lnTo>
                      <a:lnTo>
                        <a:pt x="2482" y="986"/>
                      </a:lnTo>
                      <a:lnTo>
                        <a:pt x="2470" y="976"/>
                      </a:lnTo>
                      <a:lnTo>
                        <a:pt x="2458" y="968"/>
                      </a:lnTo>
                      <a:lnTo>
                        <a:pt x="2444" y="962"/>
                      </a:lnTo>
                      <a:lnTo>
                        <a:pt x="2428" y="960"/>
                      </a:lnTo>
                      <a:lnTo>
                        <a:pt x="2254" y="960"/>
                      </a:lnTo>
                      <a:lnTo>
                        <a:pt x="2254" y="808"/>
                      </a:lnTo>
                      <a:lnTo>
                        <a:pt x="2456" y="808"/>
                      </a:lnTo>
                      <a:lnTo>
                        <a:pt x="2456" y="562"/>
                      </a:lnTo>
                      <a:lnTo>
                        <a:pt x="2254" y="562"/>
                      </a:lnTo>
                      <a:lnTo>
                        <a:pt x="2254" y="424"/>
                      </a:lnTo>
                      <a:lnTo>
                        <a:pt x="2456" y="424"/>
                      </a:lnTo>
                      <a:lnTo>
                        <a:pt x="2456" y="178"/>
                      </a:lnTo>
                      <a:lnTo>
                        <a:pt x="2254" y="178"/>
                      </a:lnTo>
                      <a:lnTo>
                        <a:pt x="2254" y="68"/>
                      </a:lnTo>
                      <a:lnTo>
                        <a:pt x="2254" y="68"/>
                      </a:lnTo>
                      <a:lnTo>
                        <a:pt x="2254" y="54"/>
                      </a:lnTo>
                      <a:lnTo>
                        <a:pt x="2250" y="42"/>
                      </a:lnTo>
                      <a:lnTo>
                        <a:pt x="2244" y="30"/>
                      </a:lnTo>
                      <a:lnTo>
                        <a:pt x="2234" y="20"/>
                      </a:lnTo>
                      <a:lnTo>
                        <a:pt x="2224" y="10"/>
                      </a:lnTo>
                      <a:lnTo>
                        <a:pt x="2212" y="4"/>
                      </a:lnTo>
                      <a:lnTo>
                        <a:pt x="2200" y="0"/>
                      </a:lnTo>
                      <a:lnTo>
                        <a:pt x="2186" y="0"/>
                      </a:lnTo>
                      <a:lnTo>
                        <a:pt x="2186" y="0"/>
                      </a:lnTo>
                      <a:lnTo>
                        <a:pt x="2172" y="0"/>
                      </a:lnTo>
                      <a:lnTo>
                        <a:pt x="2160" y="4"/>
                      </a:lnTo>
                      <a:lnTo>
                        <a:pt x="2148" y="10"/>
                      </a:lnTo>
                      <a:lnTo>
                        <a:pt x="2138" y="20"/>
                      </a:lnTo>
                      <a:lnTo>
                        <a:pt x="2130" y="30"/>
                      </a:lnTo>
                      <a:lnTo>
                        <a:pt x="2122" y="42"/>
                      </a:lnTo>
                      <a:lnTo>
                        <a:pt x="2118" y="54"/>
                      </a:lnTo>
                      <a:lnTo>
                        <a:pt x="2118" y="68"/>
                      </a:lnTo>
                      <a:lnTo>
                        <a:pt x="2118" y="178"/>
                      </a:lnTo>
                      <a:lnTo>
                        <a:pt x="550" y="178"/>
                      </a:lnTo>
                      <a:lnTo>
                        <a:pt x="550" y="68"/>
                      </a:lnTo>
                      <a:lnTo>
                        <a:pt x="550" y="68"/>
                      </a:lnTo>
                      <a:lnTo>
                        <a:pt x="548" y="54"/>
                      </a:lnTo>
                      <a:lnTo>
                        <a:pt x="544" y="42"/>
                      </a:lnTo>
                      <a:lnTo>
                        <a:pt x="538" y="30"/>
                      </a:lnTo>
                      <a:lnTo>
                        <a:pt x="528" y="20"/>
                      </a:lnTo>
                      <a:lnTo>
                        <a:pt x="518" y="10"/>
                      </a:lnTo>
                      <a:lnTo>
                        <a:pt x="508" y="4"/>
                      </a:lnTo>
                      <a:lnTo>
                        <a:pt x="494" y="0"/>
                      </a:lnTo>
                      <a:lnTo>
                        <a:pt x="480" y="0"/>
                      </a:lnTo>
                      <a:lnTo>
                        <a:pt x="480" y="0"/>
                      </a:lnTo>
                      <a:lnTo>
                        <a:pt x="466" y="0"/>
                      </a:lnTo>
                      <a:lnTo>
                        <a:pt x="454" y="4"/>
                      </a:lnTo>
                      <a:lnTo>
                        <a:pt x="442" y="10"/>
                      </a:lnTo>
                      <a:lnTo>
                        <a:pt x="432" y="20"/>
                      </a:lnTo>
                      <a:lnTo>
                        <a:pt x="424" y="30"/>
                      </a:lnTo>
                      <a:lnTo>
                        <a:pt x="418" y="42"/>
                      </a:lnTo>
                      <a:lnTo>
                        <a:pt x="414" y="54"/>
                      </a:lnTo>
                      <a:lnTo>
                        <a:pt x="412" y="68"/>
                      </a:lnTo>
                      <a:lnTo>
                        <a:pt x="412" y="178"/>
                      </a:lnTo>
                      <a:lnTo>
                        <a:pt x="210" y="178"/>
                      </a:lnTo>
                      <a:lnTo>
                        <a:pt x="210" y="424"/>
                      </a:lnTo>
                      <a:lnTo>
                        <a:pt x="412" y="424"/>
                      </a:lnTo>
                      <a:lnTo>
                        <a:pt x="412" y="562"/>
                      </a:lnTo>
                      <a:lnTo>
                        <a:pt x="210" y="562"/>
                      </a:lnTo>
                      <a:lnTo>
                        <a:pt x="210" y="808"/>
                      </a:lnTo>
                      <a:lnTo>
                        <a:pt x="412" y="808"/>
                      </a:lnTo>
                      <a:lnTo>
                        <a:pt x="412" y="960"/>
                      </a:lnTo>
                      <a:lnTo>
                        <a:pt x="282" y="960"/>
                      </a:lnTo>
                      <a:lnTo>
                        <a:pt x="282" y="960"/>
                      </a:lnTo>
                      <a:lnTo>
                        <a:pt x="270" y="962"/>
                      </a:lnTo>
                      <a:lnTo>
                        <a:pt x="256" y="966"/>
                      </a:lnTo>
                      <a:lnTo>
                        <a:pt x="246" y="972"/>
                      </a:lnTo>
                      <a:lnTo>
                        <a:pt x="234" y="980"/>
                      </a:lnTo>
                      <a:lnTo>
                        <a:pt x="20" y="1192"/>
                      </a:lnTo>
                      <a:lnTo>
                        <a:pt x="20" y="1192"/>
                      </a:lnTo>
                      <a:lnTo>
                        <a:pt x="14" y="1200"/>
                      </a:lnTo>
                      <a:lnTo>
                        <a:pt x="8" y="1208"/>
                      </a:lnTo>
                      <a:lnTo>
                        <a:pt x="4" y="1216"/>
                      </a:lnTo>
                      <a:lnTo>
                        <a:pt x="2" y="1226"/>
                      </a:lnTo>
                      <a:lnTo>
                        <a:pt x="0" y="1236"/>
                      </a:lnTo>
                      <a:lnTo>
                        <a:pt x="0" y="1246"/>
                      </a:lnTo>
                      <a:lnTo>
                        <a:pt x="2" y="1256"/>
                      </a:lnTo>
                      <a:lnTo>
                        <a:pt x="4" y="1266"/>
                      </a:lnTo>
                      <a:lnTo>
                        <a:pt x="4" y="1266"/>
                      </a:lnTo>
                      <a:lnTo>
                        <a:pt x="10" y="1276"/>
                      </a:lnTo>
                      <a:lnTo>
                        <a:pt x="16" y="1284"/>
                      </a:lnTo>
                      <a:lnTo>
                        <a:pt x="22" y="1292"/>
                      </a:lnTo>
                      <a:lnTo>
                        <a:pt x="30" y="1298"/>
                      </a:lnTo>
                      <a:lnTo>
                        <a:pt x="38" y="1302"/>
                      </a:lnTo>
                      <a:lnTo>
                        <a:pt x="48" y="1306"/>
                      </a:lnTo>
                      <a:lnTo>
                        <a:pt x="58" y="1308"/>
                      </a:lnTo>
                      <a:lnTo>
                        <a:pt x="68" y="1310"/>
                      </a:lnTo>
                      <a:lnTo>
                        <a:pt x="68" y="1310"/>
                      </a:lnTo>
                      <a:close/>
                      <a:moveTo>
                        <a:pt x="550" y="960"/>
                      </a:moveTo>
                      <a:lnTo>
                        <a:pt x="550" y="808"/>
                      </a:lnTo>
                      <a:lnTo>
                        <a:pt x="2118" y="808"/>
                      </a:lnTo>
                      <a:lnTo>
                        <a:pt x="2118" y="960"/>
                      </a:lnTo>
                      <a:lnTo>
                        <a:pt x="550" y="960"/>
                      </a:lnTo>
                      <a:close/>
                      <a:moveTo>
                        <a:pt x="2118" y="424"/>
                      </a:moveTo>
                      <a:lnTo>
                        <a:pt x="2118" y="562"/>
                      </a:lnTo>
                      <a:lnTo>
                        <a:pt x="550" y="562"/>
                      </a:lnTo>
                      <a:lnTo>
                        <a:pt x="550" y="424"/>
                      </a:lnTo>
                      <a:lnTo>
                        <a:pt x="2118" y="424"/>
                      </a:lnTo>
                      <a:close/>
                      <a:moveTo>
                        <a:pt x="2666" y="1456"/>
                      </a:moveTo>
                      <a:lnTo>
                        <a:pt x="2666" y="1456"/>
                      </a:lnTo>
                      <a:lnTo>
                        <a:pt x="2666" y="1470"/>
                      </a:lnTo>
                      <a:lnTo>
                        <a:pt x="2662" y="1482"/>
                      </a:lnTo>
                      <a:lnTo>
                        <a:pt x="2654" y="1494"/>
                      </a:lnTo>
                      <a:lnTo>
                        <a:pt x="2646" y="1504"/>
                      </a:lnTo>
                      <a:lnTo>
                        <a:pt x="2636" y="1512"/>
                      </a:lnTo>
                      <a:lnTo>
                        <a:pt x="2624" y="1520"/>
                      </a:lnTo>
                      <a:lnTo>
                        <a:pt x="2612" y="1524"/>
                      </a:lnTo>
                      <a:lnTo>
                        <a:pt x="2598" y="1524"/>
                      </a:lnTo>
                      <a:lnTo>
                        <a:pt x="2404" y="1524"/>
                      </a:lnTo>
                      <a:lnTo>
                        <a:pt x="2404" y="1746"/>
                      </a:lnTo>
                      <a:lnTo>
                        <a:pt x="2404" y="1746"/>
                      </a:lnTo>
                      <a:lnTo>
                        <a:pt x="2402" y="1760"/>
                      </a:lnTo>
                      <a:lnTo>
                        <a:pt x="2398" y="1772"/>
                      </a:lnTo>
                      <a:lnTo>
                        <a:pt x="2392" y="1784"/>
                      </a:lnTo>
                      <a:lnTo>
                        <a:pt x="2384" y="1794"/>
                      </a:lnTo>
                      <a:lnTo>
                        <a:pt x="2374" y="1802"/>
                      </a:lnTo>
                      <a:lnTo>
                        <a:pt x="2362" y="1808"/>
                      </a:lnTo>
                      <a:lnTo>
                        <a:pt x="2350" y="1812"/>
                      </a:lnTo>
                      <a:lnTo>
                        <a:pt x="2336" y="1814"/>
                      </a:lnTo>
                      <a:lnTo>
                        <a:pt x="2186" y="1814"/>
                      </a:lnTo>
                      <a:lnTo>
                        <a:pt x="2186" y="1814"/>
                      </a:lnTo>
                      <a:lnTo>
                        <a:pt x="2172" y="1812"/>
                      </a:lnTo>
                      <a:lnTo>
                        <a:pt x="2160" y="1808"/>
                      </a:lnTo>
                      <a:lnTo>
                        <a:pt x="2148" y="1802"/>
                      </a:lnTo>
                      <a:lnTo>
                        <a:pt x="2138" y="1794"/>
                      </a:lnTo>
                      <a:lnTo>
                        <a:pt x="2130" y="1784"/>
                      </a:lnTo>
                      <a:lnTo>
                        <a:pt x="2122" y="1772"/>
                      </a:lnTo>
                      <a:lnTo>
                        <a:pt x="2118" y="1760"/>
                      </a:lnTo>
                      <a:lnTo>
                        <a:pt x="2118" y="1746"/>
                      </a:lnTo>
                      <a:lnTo>
                        <a:pt x="2118" y="1524"/>
                      </a:lnTo>
                      <a:lnTo>
                        <a:pt x="550" y="1524"/>
                      </a:lnTo>
                      <a:lnTo>
                        <a:pt x="550" y="1746"/>
                      </a:lnTo>
                      <a:lnTo>
                        <a:pt x="550" y="1746"/>
                      </a:lnTo>
                      <a:lnTo>
                        <a:pt x="548" y="1760"/>
                      </a:lnTo>
                      <a:lnTo>
                        <a:pt x="544" y="1772"/>
                      </a:lnTo>
                      <a:lnTo>
                        <a:pt x="538" y="1784"/>
                      </a:lnTo>
                      <a:lnTo>
                        <a:pt x="528" y="1794"/>
                      </a:lnTo>
                      <a:lnTo>
                        <a:pt x="518" y="1802"/>
                      </a:lnTo>
                      <a:lnTo>
                        <a:pt x="508" y="1808"/>
                      </a:lnTo>
                      <a:lnTo>
                        <a:pt x="494" y="1812"/>
                      </a:lnTo>
                      <a:lnTo>
                        <a:pt x="480" y="1814"/>
                      </a:lnTo>
                      <a:lnTo>
                        <a:pt x="332" y="1814"/>
                      </a:lnTo>
                      <a:lnTo>
                        <a:pt x="332" y="1814"/>
                      </a:lnTo>
                      <a:lnTo>
                        <a:pt x="318" y="1812"/>
                      </a:lnTo>
                      <a:lnTo>
                        <a:pt x="304" y="1808"/>
                      </a:lnTo>
                      <a:lnTo>
                        <a:pt x="292" y="1802"/>
                      </a:lnTo>
                      <a:lnTo>
                        <a:pt x="282" y="1794"/>
                      </a:lnTo>
                      <a:lnTo>
                        <a:pt x="274" y="1784"/>
                      </a:lnTo>
                      <a:lnTo>
                        <a:pt x="268" y="1772"/>
                      </a:lnTo>
                      <a:lnTo>
                        <a:pt x="264" y="1760"/>
                      </a:lnTo>
                      <a:lnTo>
                        <a:pt x="262" y="1746"/>
                      </a:lnTo>
                      <a:lnTo>
                        <a:pt x="262" y="1524"/>
                      </a:lnTo>
                      <a:lnTo>
                        <a:pt x="68" y="1524"/>
                      </a:lnTo>
                      <a:lnTo>
                        <a:pt x="68" y="1524"/>
                      </a:lnTo>
                      <a:lnTo>
                        <a:pt x="54" y="1524"/>
                      </a:lnTo>
                      <a:lnTo>
                        <a:pt x="42" y="1520"/>
                      </a:lnTo>
                      <a:lnTo>
                        <a:pt x="30" y="1512"/>
                      </a:lnTo>
                      <a:lnTo>
                        <a:pt x="20" y="1504"/>
                      </a:lnTo>
                      <a:lnTo>
                        <a:pt x="12" y="1494"/>
                      </a:lnTo>
                      <a:lnTo>
                        <a:pt x="6" y="1482"/>
                      </a:lnTo>
                      <a:lnTo>
                        <a:pt x="2" y="1470"/>
                      </a:lnTo>
                      <a:lnTo>
                        <a:pt x="0" y="1456"/>
                      </a:lnTo>
                      <a:lnTo>
                        <a:pt x="0" y="1456"/>
                      </a:lnTo>
                      <a:lnTo>
                        <a:pt x="2" y="1442"/>
                      </a:lnTo>
                      <a:lnTo>
                        <a:pt x="6" y="1430"/>
                      </a:lnTo>
                      <a:lnTo>
                        <a:pt x="12" y="1418"/>
                      </a:lnTo>
                      <a:lnTo>
                        <a:pt x="20" y="1408"/>
                      </a:lnTo>
                      <a:lnTo>
                        <a:pt x="30" y="1398"/>
                      </a:lnTo>
                      <a:lnTo>
                        <a:pt x="42" y="1392"/>
                      </a:lnTo>
                      <a:lnTo>
                        <a:pt x="54" y="1388"/>
                      </a:lnTo>
                      <a:lnTo>
                        <a:pt x="68" y="1388"/>
                      </a:lnTo>
                      <a:lnTo>
                        <a:pt x="332" y="1388"/>
                      </a:lnTo>
                      <a:lnTo>
                        <a:pt x="480" y="1388"/>
                      </a:lnTo>
                      <a:lnTo>
                        <a:pt x="2186" y="1388"/>
                      </a:lnTo>
                      <a:lnTo>
                        <a:pt x="2336" y="1388"/>
                      </a:lnTo>
                      <a:lnTo>
                        <a:pt x="2598" y="1388"/>
                      </a:lnTo>
                      <a:lnTo>
                        <a:pt x="2598" y="1388"/>
                      </a:lnTo>
                      <a:lnTo>
                        <a:pt x="2612" y="1388"/>
                      </a:lnTo>
                      <a:lnTo>
                        <a:pt x="2624" y="1392"/>
                      </a:lnTo>
                      <a:lnTo>
                        <a:pt x="2636" y="1398"/>
                      </a:lnTo>
                      <a:lnTo>
                        <a:pt x="2646" y="1408"/>
                      </a:lnTo>
                      <a:lnTo>
                        <a:pt x="2654" y="1418"/>
                      </a:lnTo>
                      <a:lnTo>
                        <a:pt x="2662" y="1430"/>
                      </a:lnTo>
                      <a:lnTo>
                        <a:pt x="2666" y="1442"/>
                      </a:lnTo>
                      <a:lnTo>
                        <a:pt x="2666" y="1456"/>
                      </a:lnTo>
                      <a:lnTo>
                        <a:pt x="2666" y="1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18" name="Oval 17">
              <a:extLst>
                <a:ext uri="{FF2B5EF4-FFF2-40B4-BE49-F238E27FC236}">
                  <a16:creationId xmlns:a16="http://schemas.microsoft.com/office/drawing/2014/main" xmlns="" id="{1DA18973-8A9D-481A-A702-93143CCEC464}"/>
                </a:ext>
              </a:extLst>
            </p:cNvPr>
            <p:cNvSpPr/>
            <p:nvPr/>
          </p:nvSpPr>
          <p:spPr bwMode="ltGray">
            <a:xfrm>
              <a:off x="9165180" y="3127161"/>
              <a:ext cx="581159" cy="542915"/>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solidFill>
                  <a:schemeClr val="bg1"/>
                </a:solidFill>
                <a:latin typeface="Georgia" pitchFamily="18" charset="0"/>
              </a:endParaRPr>
            </a:p>
          </p:txBody>
        </p:sp>
        <p:sp>
          <p:nvSpPr>
            <p:cNvPr id="22" name="Freeform 188">
              <a:extLst>
                <a:ext uri="{FF2B5EF4-FFF2-40B4-BE49-F238E27FC236}">
                  <a16:creationId xmlns:a16="http://schemas.microsoft.com/office/drawing/2014/main" xmlns="" id="{AC46BA92-CB74-432C-8602-F3B07D750CEB}"/>
                </a:ext>
              </a:extLst>
            </p:cNvPr>
            <p:cNvSpPr>
              <a:spLocks noEditPoints="1"/>
            </p:cNvSpPr>
            <p:nvPr/>
          </p:nvSpPr>
          <p:spPr bwMode="auto">
            <a:xfrm>
              <a:off x="9285564" y="3207469"/>
              <a:ext cx="340391" cy="382293"/>
            </a:xfrm>
            <a:custGeom>
              <a:avLst/>
              <a:gdLst>
                <a:gd name="T0" fmla="*/ 2706 w 2750"/>
                <a:gd name="T1" fmla="*/ 1736 h 2704"/>
                <a:gd name="T2" fmla="*/ 1454 w 2750"/>
                <a:gd name="T3" fmla="*/ 2688 h 2704"/>
                <a:gd name="T4" fmla="*/ 1342 w 2750"/>
                <a:gd name="T5" fmla="*/ 2700 h 2704"/>
                <a:gd name="T6" fmla="*/ 92 w 2750"/>
                <a:gd name="T7" fmla="*/ 1788 h 2704"/>
                <a:gd name="T8" fmla="*/ 10 w 2750"/>
                <a:gd name="T9" fmla="*/ 1624 h 2704"/>
                <a:gd name="T10" fmla="*/ 1248 w 2750"/>
                <a:gd name="T11" fmla="*/ 2334 h 2704"/>
                <a:gd name="T12" fmla="*/ 1374 w 2750"/>
                <a:gd name="T13" fmla="*/ 2378 h 2704"/>
                <a:gd name="T14" fmla="*/ 1486 w 2750"/>
                <a:gd name="T15" fmla="*/ 2344 h 2704"/>
                <a:gd name="T16" fmla="*/ 2738 w 2750"/>
                <a:gd name="T17" fmla="*/ 1374 h 2704"/>
                <a:gd name="T18" fmla="*/ 818 w 2750"/>
                <a:gd name="T19" fmla="*/ 1038 h 2704"/>
                <a:gd name="T20" fmla="*/ 684 w 2750"/>
                <a:gd name="T21" fmla="*/ 1020 h 2704"/>
                <a:gd name="T22" fmla="*/ 674 w 2750"/>
                <a:gd name="T23" fmla="*/ 1134 h 2704"/>
                <a:gd name="T24" fmla="*/ 770 w 2750"/>
                <a:gd name="T25" fmla="*/ 1270 h 2704"/>
                <a:gd name="T26" fmla="*/ 916 w 2750"/>
                <a:gd name="T27" fmla="*/ 1386 h 2704"/>
                <a:gd name="T28" fmla="*/ 1014 w 2750"/>
                <a:gd name="T29" fmla="*/ 1370 h 2704"/>
                <a:gd name="T30" fmla="*/ 1006 w 2750"/>
                <a:gd name="T31" fmla="*/ 1244 h 2704"/>
                <a:gd name="T32" fmla="*/ 2750 w 2750"/>
                <a:gd name="T33" fmla="*/ 1090 h 2704"/>
                <a:gd name="T34" fmla="*/ 2662 w 2750"/>
                <a:gd name="T35" fmla="*/ 1264 h 2704"/>
                <a:gd name="T36" fmla="*/ 1408 w 2750"/>
                <a:gd name="T37" fmla="*/ 2178 h 2704"/>
                <a:gd name="T38" fmla="*/ 1290 w 2750"/>
                <a:gd name="T39" fmla="*/ 2164 h 2704"/>
                <a:gd name="T40" fmla="*/ 34 w 2750"/>
                <a:gd name="T41" fmla="*/ 1210 h 2704"/>
                <a:gd name="T42" fmla="*/ 6 w 2750"/>
                <a:gd name="T43" fmla="*/ 1040 h 2704"/>
                <a:gd name="T44" fmla="*/ 1244 w 2750"/>
                <a:gd name="T45" fmla="*/ 42 h 2704"/>
                <a:gd name="T46" fmla="*/ 1374 w 2750"/>
                <a:gd name="T47" fmla="*/ 0 h 2704"/>
                <a:gd name="T48" fmla="*/ 1506 w 2750"/>
                <a:gd name="T49" fmla="*/ 42 h 2704"/>
                <a:gd name="T50" fmla="*/ 2744 w 2750"/>
                <a:gd name="T51" fmla="*/ 1040 h 2704"/>
                <a:gd name="T52" fmla="*/ 1154 w 2750"/>
                <a:gd name="T53" fmla="*/ 1104 h 2704"/>
                <a:gd name="T54" fmla="*/ 1008 w 2750"/>
                <a:gd name="T55" fmla="*/ 938 h 2704"/>
                <a:gd name="T56" fmla="*/ 832 w 2750"/>
                <a:gd name="T57" fmla="*/ 880 h 2704"/>
                <a:gd name="T58" fmla="*/ 680 w 2750"/>
                <a:gd name="T59" fmla="*/ 924 h 2704"/>
                <a:gd name="T60" fmla="*/ 544 w 2750"/>
                <a:gd name="T61" fmla="*/ 1066 h 2704"/>
                <a:gd name="T62" fmla="*/ 546 w 2750"/>
                <a:gd name="T63" fmla="*/ 1290 h 2704"/>
                <a:gd name="T64" fmla="*/ 694 w 2750"/>
                <a:gd name="T65" fmla="*/ 1458 h 2704"/>
                <a:gd name="T66" fmla="*/ 868 w 2750"/>
                <a:gd name="T67" fmla="*/ 1514 h 2704"/>
                <a:gd name="T68" fmla="*/ 1022 w 2750"/>
                <a:gd name="T69" fmla="*/ 1468 h 2704"/>
                <a:gd name="T70" fmla="*/ 1156 w 2750"/>
                <a:gd name="T71" fmla="*/ 1328 h 2704"/>
                <a:gd name="T72" fmla="*/ 1380 w 2750"/>
                <a:gd name="T73" fmla="*/ 462 h 2704"/>
                <a:gd name="T74" fmla="*/ 1352 w 2750"/>
                <a:gd name="T75" fmla="*/ 448 h 2704"/>
                <a:gd name="T76" fmla="*/ 1364 w 2750"/>
                <a:gd name="T77" fmla="*/ 1718 h 2704"/>
                <a:gd name="T78" fmla="*/ 1406 w 2750"/>
                <a:gd name="T79" fmla="*/ 1730 h 2704"/>
                <a:gd name="T80" fmla="*/ 2228 w 2750"/>
                <a:gd name="T81" fmla="*/ 982 h 2704"/>
                <a:gd name="T82" fmla="*/ 2112 w 2750"/>
                <a:gd name="T83" fmla="*/ 764 h 2704"/>
                <a:gd name="T84" fmla="*/ 1934 w 2750"/>
                <a:gd name="T85" fmla="*/ 666 h 2704"/>
                <a:gd name="T86" fmla="*/ 1784 w 2750"/>
                <a:gd name="T87" fmla="*/ 680 h 2704"/>
                <a:gd name="T88" fmla="*/ 1658 w 2750"/>
                <a:gd name="T89" fmla="*/ 762 h 2704"/>
                <a:gd name="T90" fmla="*/ 1572 w 2750"/>
                <a:gd name="T91" fmla="*/ 974 h 2704"/>
                <a:gd name="T92" fmla="*/ 1658 w 2750"/>
                <a:gd name="T93" fmla="*/ 1166 h 2704"/>
                <a:gd name="T94" fmla="*/ 1842 w 2750"/>
                <a:gd name="T95" fmla="*/ 1286 h 2704"/>
                <a:gd name="T96" fmla="*/ 1980 w 2750"/>
                <a:gd name="T97" fmla="*/ 1290 h 2704"/>
                <a:gd name="T98" fmla="*/ 2142 w 2750"/>
                <a:gd name="T99" fmla="*/ 1196 h 2704"/>
                <a:gd name="T100" fmla="*/ 2228 w 2750"/>
                <a:gd name="T101" fmla="*/ 982 h 2704"/>
                <a:gd name="T102" fmla="*/ 1944 w 2750"/>
                <a:gd name="T103" fmla="*/ 884 h 2704"/>
                <a:gd name="T104" fmla="*/ 1800 w 2750"/>
                <a:gd name="T105" fmla="*/ 788 h 2704"/>
                <a:gd name="T106" fmla="*/ 1712 w 2750"/>
                <a:gd name="T107" fmla="*/ 842 h 2704"/>
                <a:gd name="T108" fmla="*/ 1746 w 2750"/>
                <a:gd name="T109" fmla="*/ 960 h 2704"/>
                <a:gd name="T110" fmla="*/ 1900 w 2750"/>
                <a:gd name="T111" fmla="*/ 1126 h 2704"/>
                <a:gd name="T112" fmla="*/ 2024 w 2750"/>
                <a:gd name="T113" fmla="*/ 1178 h 2704"/>
                <a:gd name="T114" fmla="*/ 2080 w 2750"/>
                <a:gd name="T115" fmla="*/ 1100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0" h="2704">
                  <a:moveTo>
                    <a:pt x="2738" y="1374"/>
                  </a:moveTo>
                  <a:lnTo>
                    <a:pt x="2738" y="1624"/>
                  </a:lnTo>
                  <a:lnTo>
                    <a:pt x="2738" y="1624"/>
                  </a:lnTo>
                  <a:lnTo>
                    <a:pt x="2738" y="1648"/>
                  </a:lnTo>
                  <a:lnTo>
                    <a:pt x="2732" y="1670"/>
                  </a:lnTo>
                  <a:lnTo>
                    <a:pt x="2726" y="1694"/>
                  </a:lnTo>
                  <a:lnTo>
                    <a:pt x="2716" y="1716"/>
                  </a:lnTo>
                  <a:lnTo>
                    <a:pt x="2706" y="1736"/>
                  </a:lnTo>
                  <a:lnTo>
                    <a:pt x="2690" y="1754"/>
                  </a:lnTo>
                  <a:lnTo>
                    <a:pt x="2674" y="1772"/>
                  </a:lnTo>
                  <a:lnTo>
                    <a:pt x="2656" y="1788"/>
                  </a:lnTo>
                  <a:lnTo>
                    <a:pt x="1498" y="2662"/>
                  </a:lnTo>
                  <a:lnTo>
                    <a:pt x="1498" y="2662"/>
                  </a:lnTo>
                  <a:lnTo>
                    <a:pt x="1484" y="2672"/>
                  </a:lnTo>
                  <a:lnTo>
                    <a:pt x="1470" y="2680"/>
                  </a:lnTo>
                  <a:lnTo>
                    <a:pt x="1454" y="2688"/>
                  </a:lnTo>
                  <a:lnTo>
                    <a:pt x="1440" y="2694"/>
                  </a:lnTo>
                  <a:lnTo>
                    <a:pt x="1424" y="2698"/>
                  </a:lnTo>
                  <a:lnTo>
                    <a:pt x="1408" y="2700"/>
                  </a:lnTo>
                  <a:lnTo>
                    <a:pt x="1390" y="2702"/>
                  </a:lnTo>
                  <a:lnTo>
                    <a:pt x="1374" y="2704"/>
                  </a:lnTo>
                  <a:lnTo>
                    <a:pt x="1374" y="2704"/>
                  </a:lnTo>
                  <a:lnTo>
                    <a:pt x="1358" y="2702"/>
                  </a:lnTo>
                  <a:lnTo>
                    <a:pt x="1342" y="2700"/>
                  </a:lnTo>
                  <a:lnTo>
                    <a:pt x="1326" y="2698"/>
                  </a:lnTo>
                  <a:lnTo>
                    <a:pt x="1310" y="2694"/>
                  </a:lnTo>
                  <a:lnTo>
                    <a:pt x="1294" y="2688"/>
                  </a:lnTo>
                  <a:lnTo>
                    <a:pt x="1278" y="2680"/>
                  </a:lnTo>
                  <a:lnTo>
                    <a:pt x="1264" y="2672"/>
                  </a:lnTo>
                  <a:lnTo>
                    <a:pt x="1250" y="2662"/>
                  </a:lnTo>
                  <a:lnTo>
                    <a:pt x="92" y="1788"/>
                  </a:lnTo>
                  <a:lnTo>
                    <a:pt x="92" y="1788"/>
                  </a:lnTo>
                  <a:lnTo>
                    <a:pt x="74" y="1772"/>
                  </a:lnTo>
                  <a:lnTo>
                    <a:pt x="58" y="1754"/>
                  </a:lnTo>
                  <a:lnTo>
                    <a:pt x="44" y="1736"/>
                  </a:lnTo>
                  <a:lnTo>
                    <a:pt x="32" y="1716"/>
                  </a:lnTo>
                  <a:lnTo>
                    <a:pt x="22" y="1694"/>
                  </a:lnTo>
                  <a:lnTo>
                    <a:pt x="16" y="1670"/>
                  </a:lnTo>
                  <a:lnTo>
                    <a:pt x="12" y="1648"/>
                  </a:lnTo>
                  <a:lnTo>
                    <a:pt x="10" y="1624"/>
                  </a:lnTo>
                  <a:lnTo>
                    <a:pt x="10" y="1374"/>
                  </a:lnTo>
                  <a:lnTo>
                    <a:pt x="10" y="1374"/>
                  </a:lnTo>
                  <a:lnTo>
                    <a:pt x="22" y="1394"/>
                  </a:lnTo>
                  <a:lnTo>
                    <a:pt x="36" y="1414"/>
                  </a:lnTo>
                  <a:lnTo>
                    <a:pt x="52" y="1430"/>
                  </a:lnTo>
                  <a:lnTo>
                    <a:pt x="70" y="1446"/>
                  </a:lnTo>
                  <a:lnTo>
                    <a:pt x="1248" y="2334"/>
                  </a:lnTo>
                  <a:lnTo>
                    <a:pt x="1248" y="2334"/>
                  </a:lnTo>
                  <a:lnTo>
                    <a:pt x="1262" y="2344"/>
                  </a:lnTo>
                  <a:lnTo>
                    <a:pt x="1276" y="2354"/>
                  </a:lnTo>
                  <a:lnTo>
                    <a:pt x="1292" y="2360"/>
                  </a:lnTo>
                  <a:lnTo>
                    <a:pt x="1308" y="2366"/>
                  </a:lnTo>
                  <a:lnTo>
                    <a:pt x="1324" y="2372"/>
                  </a:lnTo>
                  <a:lnTo>
                    <a:pt x="1340" y="2374"/>
                  </a:lnTo>
                  <a:lnTo>
                    <a:pt x="1358" y="2376"/>
                  </a:lnTo>
                  <a:lnTo>
                    <a:pt x="1374" y="2378"/>
                  </a:lnTo>
                  <a:lnTo>
                    <a:pt x="1374" y="2378"/>
                  </a:lnTo>
                  <a:lnTo>
                    <a:pt x="1390" y="2376"/>
                  </a:lnTo>
                  <a:lnTo>
                    <a:pt x="1408" y="2374"/>
                  </a:lnTo>
                  <a:lnTo>
                    <a:pt x="1424" y="2372"/>
                  </a:lnTo>
                  <a:lnTo>
                    <a:pt x="1440" y="2366"/>
                  </a:lnTo>
                  <a:lnTo>
                    <a:pt x="1456" y="2360"/>
                  </a:lnTo>
                  <a:lnTo>
                    <a:pt x="1472" y="2354"/>
                  </a:lnTo>
                  <a:lnTo>
                    <a:pt x="1486" y="2344"/>
                  </a:lnTo>
                  <a:lnTo>
                    <a:pt x="1500" y="2334"/>
                  </a:lnTo>
                  <a:lnTo>
                    <a:pt x="2678" y="1446"/>
                  </a:lnTo>
                  <a:lnTo>
                    <a:pt x="2678" y="1446"/>
                  </a:lnTo>
                  <a:lnTo>
                    <a:pt x="2696" y="1430"/>
                  </a:lnTo>
                  <a:lnTo>
                    <a:pt x="2712" y="1414"/>
                  </a:lnTo>
                  <a:lnTo>
                    <a:pt x="2726" y="1394"/>
                  </a:lnTo>
                  <a:lnTo>
                    <a:pt x="2738" y="1374"/>
                  </a:lnTo>
                  <a:lnTo>
                    <a:pt x="2738" y="1374"/>
                  </a:lnTo>
                  <a:close/>
                  <a:moveTo>
                    <a:pt x="942" y="1150"/>
                  </a:moveTo>
                  <a:lnTo>
                    <a:pt x="942" y="1150"/>
                  </a:lnTo>
                  <a:lnTo>
                    <a:pt x="920" y="1126"/>
                  </a:lnTo>
                  <a:lnTo>
                    <a:pt x="896" y="1102"/>
                  </a:lnTo>
                  <a:lnTo>
                    <a:pt x="870" y="1078"/>
                  </a:lnTo>
                  <a:lnTo>
                    <a:pt x="842" y="1056"/>
                  </a:lnTo>
                  <a:lnTo>
                    <a:pt x="842" y="1056"/>
                  </a:lnTo>
                  <a:lnTo>
                    <a:pt x="818" y="1038"/>
                  </a:lnTo>
                  <a:lnTo>
                    <a:pt x="794" y="1024"/>
                  </a:lnTo>
                  <a:lnTo>
                    <a:pt x="772" y="1014"/>
                  </a:lnTo>
                  <a:lnTo>
                    <a:pt x="752" y="1006"/>
                  </a:lnTo>
                  <a:lnTo>
                    <a:pt x="732" y="1004"/>
                  </a:lnTo>
                  <a:lnTo>
                    <a:pt x="714" y="1006"/>
                  </a:lnTo>
                  <a:lnTo>
                    <a:pt x="698" y="1012"/>
                  </a:lnTo>
                  <a:lnTo>
                    <a:pt x="684" y="1020"/>
                  </a:lnTo>
                  <a:lnTo>
                    <a:pt x="684" y="1020"/>
                  </a:lnTo>
                  <a:lnTo>
                    <a:pt x="672" y="1032"/>
                  </a:lnTo>
                  <a:lnTo>
                    <a:pt x="666" y="1044"/>
                  </a:lnTo>
                  <a:lnTo>
                    <a:pt x="662" y="1060"/>
                  </a:lnTo>
                  <a:lnTo>
                    <a:pt x="660" y="1076"/>
                  </a:lnTo>
                  <a:lnTo>
                    <a:pt x="660" y="1076"/>
                  </a:lnTo>
                  <a:lnTo>
                    <a:pt x="662" y="1094"/>
                  </a:lnTo>
                  <a:lnTo>
                    <a:pt x="668" y="1114"/>
                  </a:lnTo>
                  <a:lnTo>
                    <a:pt x="674" y="1134"/>
                  </a:lnTo>
                  <a:lnTo>
                    <a:pt x="684" y="1156"/>
                  </a:lnTo>
                  <a:lnTo>
                    <a:pt x="684" y="1156"/>
                  </a:lnTo>
                  <a:lnTo>
                    <a:pt x="698" y="1180"/>
                  </a:lnTo>
                  <a:lnTo>
                    <a:pt x="712" y="1202"/>
                  </a:lnTo>
                  <a:lnTo>
                    <a:pt x="730" y="1226"/>
                  </a:lnTo>
                  <a:lnTo>
                    <a:pt x="750" y="1250"/>
                  </a:lnTo>
                  <a:lnTo>
                    <a:pt x="750" y="1250"/>
                  </a:lnTo>
                  <a:lnTo>
                    <a:pt x="770" y="1270"/>
                  </a:lnTo>
                  <a:lnTo>
                    <a:pt x="770" y="1270"/>
                  </a:lnTo>
                  <a:lnTo>
                    <a:pt x="808" y="1308"/>
                  </a:lnTo>
                  <a:lnTo>
                    <a:pt x="850" y="1344"/>
                  </a:lnTo>
                  <a:lnTo>
                    <a:pt x="850" y="1344"/>
                  </a:lnTo>
                  <a:lnTo>
                    <a:pt x="884" y="1368"/>
                  </a:lnTo>
                  <a:lnTo>
                    <a:pt x="900" y="1378"/>
                  </a:lnTo>
                  <a:lnTo>
                    <a:pt x="916" y="1386"/>
                  </a:lnTo>
                  <a:lnTo>
                    <a:pt x="916" y="1386"/>
                  </a:lnTo>
                  <a:lnTo>
                    <a:pt x="940" y="1394"/>
                  </a:lnTo>
                  <a:lnTo>
                    <a:pt x="940" y="1394"/>
                  </a:lnTo>
                  <a:lnTo>
                    <a:pt x="956" y="1396"/>
                  </a:lnTo>
                  <a:lnTo>
                    <a:pt x="974" y="1396"/>
                  </a:lnTo>
                  <a:lnTo>
                    <a:pt x="988" y="1390"/>
                  </a:lnTo>
                  <a:lnTo>
                    <a:pt x="1002" y="1380"/>
                  </a:lnTo>
                  <a:lnTo>
                    <a:pt x="1002" y="1380"/>
                  </a:lnTo>
                  <a:lnTo>
                    <a:pt x="1014" y="1370"/>
                  </a:lnTo>
                  <a:lnTo>
                    <a:pt x="1022" y="1356"/>
                  </a:lnTo>
                  <a:lnTo>
                    <a:pt x="1028" y="1340"/>
                  </a:lnTo>
                  <a:lnTo>
                    <a:pt x="1028" y="1324"/>
                  </a:lnTo>
                  <a:lnTo>
                    <a:pt x="1028" y="1324"/>
                  </a:lnTo>
                  <a:lnTo>
                    <a:pt x="1026" y="1306"/>
                  </a:lnTo>
                  <a:lnTo>
                    <a:pt x="1022" y="1286"/>
                  </a:lnTo>
                  <a:lnTo>
                    <a:pt x="1016" y="1264"/>
                  </a:lnTo>
                  <a:lnTo>
                    <a:pt x="1006" y="1244"/>
                  </a:lnTo>
                  <a:lnTo>
                    <a:pt x="1006" y="1244"/>
                  </a:lnTo>
                  <a:lnTo>
                    <a:pt x="994" y="1220"/>
                  </a:lnTo>
                  <a:lnTo>
                    <a:pt x="980" y="1198"/>
                  </a:lnTo>
                  <a:lnTo>
                    <a:pt x="962" y="1174"/>
                  </a:lnTo>
                  <a:lnTo>
                    <a:pt x="942" y="1150"/>
                  </a:lnTo>
                  <a:lnTo>
                    <a:pt x="942" y="1150"/>
                  </a:lnTo>
                  <a:close/>
                  <a:moveTo>
                    <a:pt x="2750" y="1090"/>
                  </a:moveTo>
                  <a:lnTo>
                    <a:pt x="2750" y="1090"/>
                  </a:lnTo>
                  <a:lnTo>
                    <a:pt x="2748" y="1116"/>
                  </a:lnTo>
                  <a:lnTo>
                    <a:pt x="2744" y="1140"/>
                  </a:lnTo>
                  <a:lnTo>
                    <a:pt x="2736" y="1164"/>
                  </a:lnTo>
                  <a:lnTo>
                    <a:pt x="2726" y="1188"/>
                  </a:lnTo>
                  <a:lnTo>
                    <a:pt x="2714" y="1210"/>
                  </a:lnTo>
                  <a:lnTo>
                    <a:pt x="2700" y="1230"/>
                  </a:lnTo>
                  <a:lnTo>
                    <a:pt x="2682" y="1248"/>
                  </a:lnTo>
                  <a:lnTo>
                    <a:pt x="2662" y="1264"/>
                  </a:lnTo>
                  <a:lnTo>
                    <a:pt x="1506" y="2138"/>
                  </a:lnTo>
                  <a:lnTo>
                    <a:pt x="1506" y="2138"/>
                  </a:lnTo>
                  <a:lnTo>
                    <a:pt x="1490" y="2148"/>
                  </a:lnTo>
                  <a:lnTo>
                    <a:pt x="1476" y="2156"/>
                  </a:lnTo>
                  <a:lnTo>
                    <a:pt x="1460" y="2164"/>
                  </a:lnTo>
                  <a:lnTo>
                    <a:pt x="1442" y="2170"/>
                  </a:lnTo>
                  <a:lnTo>
                    <a:pt x="1426" y="2176"/>
                  </a:lnTo>
                  <a:lnTo>
                    <a:pt x="1408" y="2178"/>
                  </a:lnTo>
                  <a:lnTo>
                    <a:pt x="1392" y="2182"/>
                  </a:lnTo>
                  <a:lnTo>
                    <a:pt x="1374" y="2182"/>
                  </a:lnTo>
                  <a:lnTo>
                    <a:pt x="1374" y="2182"/>
                  </a:lnTo>
                  <a:lnTo>
                    <a:pt x="1356" y="2182"/>
                  </a:lnTo>
                  <a:lnTo>
                    <a:pt x="1340" y="2178"/>
                  </a:lnTo>
                  <a:lnTo>
                    <a:pt x="1322" y="2176"/>
                  </a:lnTo>
                  <a:lnTo>
                    <a:pt x="1306" y="2170"/>
                  </a:lnTo>
                  <a:lnTo>
                    <a:pt x="1290" y="2164"/>
                  </a:lnTo>
                  <a:lnTo>
                    <a:pt x="1274" y="2156"/>
                  </a:lnTo>
                  <a:lnTo>
                    <a:pt x="1258" y="2148"/>
                  </a:lnTo>
                  <a:lnTo>
                    <a:pt x="1244" y="2138"/>
                  </a:lnTo>
                  <a:lnTo>
                    <a:pt x="86" y="1264"/>
                  </a:lnTo>
                  <a:lnTo>
                    <a:pt x="86" y="1264"/>
                  </a:lnTo>
                  <a:lnTo>
                    <a:pt x="66" y="1248"/>
                  </a:lnTo>
                  <a:lnTo>
                    <a:pt x="50" y="1230"/>
                  </a:lnTo>
                  <a:lnTo>
                    <a:pt x="34" y="1210"/>
                  </a:lnTo>
                  <a:lnTo>
                    <a:pt x="22" y="1188"/>
                  </a:lnTo>
                  <a:lnTo>
                    <a:pt x="12" y="1164"/>
                  </a:lnTo>
                  <a:lnTo>
                    <a:pt x="6" y="1140"/>
                  </a:lnTo>
                  <a:lnTo>
                    <a:pt x="0" y="1116"/>
                  </a:lnTo>
                  <a:lnTo>
                    <a:pt x="0" y="1090"/>
                  </a:lnTo>
                  <a:lnTo>
                    <a:pt x="0" y="1090"/>
                  </a:lnTo>
                  <a:lnTo>
                    <a:pt x="0" y="1064"/>
                  </a:lnTo>
                  <a:lnTo>
                    <a:pt x="6" y="1040"/>
                  </a:lnTo>
                  <a:lnTo>
                    <a:pt x="12" y="1016"/>
                  </a:lnTo>
                  <a:lnTo>
                    <a:pt x="22" y="994"/>
                  </a:lnTo>
                  <a:lnTo>
                    <a:pt x="34" y="972"/>
                  </a:lnTo>
                  <a:lnTo>
                    <a:pt x="50" y="952"/>
                  </a:lnTo>
                  <a:lnTo>
                    <a:pt x="66" y="934"/>
                  </a:lnTo>
                  <a:lnTo>
                    <a:pt x="86" y="916"/>
                  </a:lnTo>
                  <a:lnTo>
                    <a:pt x="1244" y="42"/>
                  </a:lnTo>
                  <a:lnTo>
                    <a:pt x="1244" y="42"/>
                  </a:lnTo>
                  <a:lnTo>
                    <a:pt x="1258" y="32"/>
                  </a:lnTo>
                  <a:lnTo>
                    <a:pt x="1274" y="24"/>
                  </a:lnTo>
                  <a:lnTo>
                    <a:pt x="1290" y="16"/>
                  </a:lnTo>
                  <a:lnTo>
                    <a:pt x="1306" y="10"/>
                  </a:lnTo>
                  <a:lnTo>
                    <a:pt x="1322" y="6"/>
                  </a:lnTo>
                  <a:lnTo>
                    <a:pt x="1340" y="2"/>
                  </a:lnTo>
                  <a:lnTo>
                    <a:pt x="1356" y="0"/>
                  </a:lnTo>
                  <a:lnTo>
                    <a:pt x="1374" y="0"/>
                  </a:lnTo>
                  <a:lnTo>
                    <a:pt x="1392" y="0"/>
                  </a:lnTo>
                  <a:lnTo>
                    <a:pt x="1408" y="2"/>
                  </a:lnTo>
                  <a:lnTo>
                    <a:pt x="1426" y="6"/>
                  </a:lnTo>
                  <a:lnTo>
                    <a:pt x="1442" y="10"/>
                  </a:lnTo>
                  <a:lnTo>
                    <a:pt x="1460" y="16"/>
                  </a:lnTo>
                  <a:lnTo>
                    <a:pt x="1476" y="24"/>
                  </a:lnTo>
                  <a:lnTo>
                    <a:pt x="1490" y="32"/>
                  </a:lnTo>
                  <a:lnTo>
                    <a:pt x="1506" y="42"/>
                  </a:lnTo>
                  <a:lnTo>
                    <a:pt x="2662" y="916"/>
                  </a:lnTo>
                  <a:lnTo>
                    <a:pt x="2662" y="916"/>
                  </a:lnTo>
                  <a:lnTo>
                    <a:pt x="2682" y="934"/>
                  </a:lnTo>
                  <a:lnTo>
                    <a:pt x="2700" y="952"/>
                  </a:lnTo>
                  <a:lnTo>
                    <a:pt x="2714" y="972"/>
                  </a:lnTo>
                  <a:lnTo>
                    <a:pt x="2726" y="994"/>
                  </a:lnTo>
                  <a:lnTo>
                    <a:pt x="2736" y="1016"/>
                  </a:lnTo>
                  <a:lnTo>
                    <a:pt x="2744" y="1040"/>
                  </a:lnTo>
                  <a:lnTo>
                    <a:pt x="2748" y="1064"/>
                  </a:lnTo>
                  <a:lnTo>
                    <a:pt x="2750" y="1090"/>
                  </a:lnTo>
                  <a:lnTo>
                    <a:pt x="2750" y="1090"/>
                  </a:lnTo>
                  <a:close/>
                  <a:moveTo>
                    <a:pt x="1180" y="1200"/>
                  </a:moveTo>
                  <a:lnTo>
                    <a:pt x="1180" y="1200"/>
                  </a:lnTo>
                  <a:lnTo>
                    <a:pt x="1176" y="1168"/>
                  </a:lnTo>
                  <a:lnTo>
                    <a:pt x="1166" y="1136"/>
                  </a:lnTo>
                  <a:lnTo>
                    <a:pt x="1154" y="1104"/>
                  </a:lnTo>
                  <a:lnTo>
                    <a:pt x="1138" y="1072"/>
                  </a:lnTo>
                  <a:lnTo>
                    <a:pt x="1138" y="1072"/>
                  </a:lnTo>
                  <a:lnTo>
                    <a:pt x="1118" y="1042"/>
                  </a:lnTo>
                  <a:lnTo>
                    <a:pt x="1092" y="1012"/>
                  </a:lnTo>
                  <a:lnTo>
                    <a:pt x="1064" y="982"/>
                  </a:lnTo>
                  <a:lnTo>
                    <a:pt x="1032" y="954"/>
                  </a:lnTo>
                  <a:lnTo>
                    <a:pt x="1032" y="954"/>
                  </a:lnTo>
                  <a:lnTo>
                    <a:pt x="1008" y="938"/>
                  </a:lnTo>
                  <a:lnTo>
                    <a:pt x="984" y="922"/>
                  </a:lnTo>
                  <a:lnTo>
                    <a:pt x="960" y="910"/>
                  </a:lnTo>
                  <a:lnTo>
                    <a:pt x="934" y="900"/>
                  </a:lnTo>
                  <a:lnTo>
                    <a:pt x="910" y="892"/>
                  </a:lnTo>
                  <a:lnTo>
                    <a:pt x="884" y="886"/>
                  </a:lnTo>
                  <a:lnTo>
                    <a:pt x="858" y="882"/>
                  </a:lnTo>
                  <a:lnTo>
                    <a:pt x="832" y="880"/>
                  </a:lnTo>
                  <a:lnTo>
                    <a:pt x="832" y="880"/>
                  </a:lnTo>
                  <a:lnTo>
                    <a:pt x="814" y="880"/>
                  </a:lnTo>
                  <a:lnTo>
                    <a:pt x="814" y="880"/>
                  </a:lnTo>
                  <a:lnTo>
                    <a:pt x="792" y="884"/>
                  </a:lnTo>
                  <a:lnTo>
                    <a:pt x="768" y="888"/>
                  </a:lnTo>
                  <a:lnTo>
                    <a:pt x="746" y="894"/>
                  </a:lnTo>
                  <a:lnTo>
                    <a:pt x="724" y="902"/>
                  </a:lnTo>
                  <a:lnTo>
                    <a:pt x="700" y="912"/>
                  </a:lnTo>
                  <a:lnTo>
                    <a:pt x="680" y="924"/>
                  </a:lnTo>
                  <a:lnTo>
                    <a:pt x="658" y="938"/>
                  </a:lnTo>
                  <a:lnTo>
                    <a:pt x="636" y="954"/>
                  </a:lnTo>
                  <a:lnTo>
                    <a:pt x="636" y="954"/>
                  </a:lnTo>
                  <a:lnTo>
                    <a:pt x="608" y="980"/>
                  </a:lnTo>
                  <a:lnTo>
                    <a:pt x="582" y="1008"/>
                  </a:lnTo>
                  <a:lnTo>
                    <a:pt x="562" y="1036"/>
                  </a:lnTo>
                  <a:lnTo>
                    <a:pt x="544" y="1066"/>
                  </a:lnTo>
                  <a:lnTo>
                    <a:pt x="544" y="1066"/>
                  </a:lnTo>
                  <a:lnTo>
                    <a:pt x="532" y="1098"/>
                  </a:lnTo>
                  <a:lnTo>
                    <a:pt x="524" y="1128"/>
                  </a:lnTo>
                  <a:lnTo>
                    <a:pt x="520" y="1160"/>
                  </a:lnTo>
                  <a:lnTo>
                    <a:pt x="520" y="1192"/>
                  </a:lnTo>
                  <a:lnTo>
                    <a:pt x="520" y="1192"/>
                  </a:lnTo>
                  <a:lnTo>
                    <a:pt x="524" y="1226"/>
                  </a:lnTo>
                  <a:lnTo>
                    <a:pt x="534" y="1258"/>
                  </a:lnTo>
                  <a:lnTo>
                    <a:pt x="546" y="1290"/>
                  </a:lnTo>
                  <a:lnTo>
                    <a:pt x="562" y="1322"/>
                  </a:lnTo>
                  <a:lnTo>
                    <a:pt x="562" y="1322"/>
                  </a:lnTo>
                  <a:lnTo>
                    <a:pt x="584" y="1354"/>
                  </a:lnTo>
                  <a:lnTo>
                    <a:pt x="608" y="1384"/>
                  </a:lnTo>
                  <a:lnTo>
                    <a:pt x="638" y="1412"/>
                  </a:lnTo>
                  <a:lnTo>
                    <a:pt x="670" y="1440"/>
                  </a:lnTo>
                  <a:lnTo>
                    <a:pt x="670" y="1440"/>
                  </a:lnTo>
                  <a:lnTo>
                    <a:pt x="694" y="1458"/>
                  </a:lnTo>
                  <a:lnTo>
                    <a:pt x="718" y="1472"/>
                  </a:lnTo>
                  <a:lnTo>
                    <a:pt x="742" y="1486"/>
                  </a:lnTo>
                  <a:lnTo>
                    <a:pt x="768" y="1496"/>
                  </a:lnTo>
                  <a:lnTo>
                    <a:pt x="792" y="1504"/>
                  </a:lnTo>
                  <a:lnTo>
                    <a:pt x="818" y="1510"/>
                  </a:lnTo>
                  <a:lnTo>
                    <a:pt x="842" y="1512"/>
                  </a:lnTo>
                  <a:lnTo>
                    <a:pt x="868" y="1514"/>
                  </a:lnTo>
                  <a:lnTo>
                    <a:pt x="868" y="1514"/>
                  </a:lnTo>
                  <a:lnTo>
                    <a:pt x="888" y="1512"/>
                  </a:lnTo>
                  <a:lnTo>
                    <a:pt x="908" y="1510"/>
                  </a:lnTo>
                  <a:lnTo>
                    <a:pt x="928" y="1508"/>
                  </a:lnTo>
                  <a:lnTo>
                    <a:pt x="946" y="1502"/>
                  </a:lnTo>
                  <a:lnTo>
                    <a:pt x="966" y="1496"/>
                  </a:lnTo>
                  <a:lnTo>
                    <a:pt x="984" y="1488"/>
                  </a:lnTo>
                  <a:lnTo>
                    <a:pt x="1004" y="1478"/>
                  </a:lnTo>
                  <a:lnTo>
                    <a:pt x="1022" y="1468"/>
                  </a:lnTo>
                  <a:lnTo>
                    <a:pt x="1022" y="1468"/>
                  </a:lnTo>
                  <a:lnTo>
                    <a:pt x="1044" y="1454"/>
                  </a:lnTo>
                  <a:lnTo>
                    <a:pt x="1064" y="1438"/>
                  </a:lnTo>
                  <a:lnTo>
                    <a:pt x="1064" y="1438"/>
                  </a:lnTo>
                  <a:lnTo>
                    <a:pt x="1094" y="1412"/>
                  </a:lnTo>
                  <a:lnTo>
                    <a:pt x="1118" y="1386"/>
                  </a:lnTo>
                  <a:lnTo>
                    <a:pt x="1138" y="1358"/>
                  </a:lnTo>
                  <a:lnTo>
                    <a:pt x="1156" y="1328"/>
                  </a:lnTo>
                  <a:lnTo>
                    <a:pt x="1156" y="1328"/>
                  </a:lnTo>
                  <a:lnTo>
                    <a:pt x="1168" y="1296"/>
                  </a:lnTo>
                  <a:lnTo>
                    <a:pt x="1176" y="1264"/>
                  </a:lnTo>
                  <a:lnTo>
                    <a:pt x="1180" y="1232"/>
                  </a:lnTo>
                  <a:lnTo>
                    <a:pt x="1180" y="1200"/>
                  </a:lnTo>
                  <a:lnTo>
                    <a:pt x="1180" y="1200"/>
                  </a:lnTo>
                  <a:close/>
                  <a:moveTo>
                    <a:pt x="1534" y="1626"/>
                  </a:moveTo>
                  <a:lnTo>
                    <a:pt x="1380" y="462"/>
                  </a:lnTo>
                  <a:lnTo>
                    <a:pt x="1380" y="462"/>
                  </a:lnTo>
                  <a:lnTo>
                    <a:pt x="1380" y="458"/>
                  </a:lnTo>
                  <a:lnTo>
                    <a:pt x="1376" y="456"/>
                  </a:lnTo>
                  <a:lnTo>
                    <a:pt x="1372" y="452"/>
                  </a:lnTo>
                  <a:lnTo>
                    <a:pt x="1364" y="450"/>
                  </a:lnTo>
                  <a:lnTo>
                    <a:pt x="1364" y="450"/>
                  </a:lnTo>
                  <a:lnTo>
                    <a:pt x="1352" y="448"/>
                  </a:lnTo>
                  <a:lnTo>
                    <a:pt x="1352" y="448"/>
                  </a:lnTo>
                  <a:lnTo>
                    <a:pt x="1338" y="450"/>
                  </a:lnTo>
                  <a:lnTo>
                    <a:pt x="1328" y="456"/>
                  </a:lnTo>
                  <a:lnTo>
                    <a:pt x="1216" y="546"/>
                  </a:lnTo>
                  <a:lnTo>
                    <a:pt x="1216" y="546"/>
                  </a:lnTo>
                  <a:lnTo>
                    <a:pt x="1212" y="548"/>
                  </a:lnTo>
                  <a:lnTo>
                    <a:pt x="1210" y="554"/>
                  </a:lnTo>
                  <a:lnTo>
                    <a:pt x="1364" y="1718"/>
                  </a:lnTo>
                  <a:lnTo>
                    <a:pt x="1364" y="1718"/>
                  </a:lnTo>
                  <a:lnTo>
                    <a:pt x="1366" y="1722"/>
                  </a:lnTo>
                  <a:lnTo>
                    <a:pt x="1368" y="1726"/>
                  </a:lnTo>
                  <a:lnTo>
                    <a:pt x="1374" y="1728"/>
                  </a:lnTo>
                  <a:lnTo>
                    <a:pt x="1380" y="1730"/>
                  </a:lnTo>
                  <a:lnTo>
                    <a:pt x="1380" y="1730"/>
                  </a:lnTo>
                  <a:lnTo>
                    <a:pt x="1392" y="1732"/>
                  </a:lnTo>
                  <a:lnTo>
                    <a:pt x="1392" y="1732"/>
                  </a:lnTo>
                  <a:lnTo>
                    <a:pt x="1406" y="1730"/>
                  </a:lnTo>
                  <a:lnTo>
                    <a:pt x="1418" y="1724"/>
                  </a:lnTo>
                  <a:lnTo>
                    <a:pt x="1528" y="1636"/>
                  </a:lnTo>
                  <a:lnTo>
                    <a:pt x="1528" y="1636"/>
                  </a:lnTo>
                  <a:lnTo>
                    <a:pt x="1532" y="1632"/>
                  </a:lnTo>
                  <a:lnTo>
                    <a:pt x="1534" y="1626"/>
                  </a:lnTo>
                  <a:lnTo>
                    <a:pt x="1534" y="1626"/>
                  </a:lnTo>
                  <a:close/>
                  <a:moveTo>
                    <a:pt x="2228" y="982"/>
                  </a:moveTo>
                  <a:lnTo>
                    <a:pt x="2228" y="982"/>
                  </a:lnTo>
                  <a:lnTo>
                    <a:pt x="2224" y="950"/>
                  </a:lnTo>
                  <a:lnTo>
                    <a:pt x="2216" y="918"/>
                  </a:lnTo>
                  <a:lnTo>
                    <a:pt x="2204" y="886"/>
                  </a:lnTo>
                  <a:lnTo>
                    <a:pt x="2186" y="854"/>
                  </a:lnTo>
                  <a:lnTo>
                    <a:pt x="2186" y="854"/>
                  </a:lnTo>
                  <a:lnTo>
                    <a:pt x="2166" y="824"/>
                  </a:lnTo>
                  <a:lnTo>
                    <a:pt x="2142" y="794"/>
                  </a:lnTo>
                  <a:lnTo>
                    <a:pt x="2112" y="764"/>
                  </a:lnTo>
                  <a:lnTo>
                    <a:pt x="2080" y="736"/>
                  </a:lnTo>
                  <a:lnTo>
                    <a:pt x="2080" y="736"/>
                  </a:lnTo>
                  <a:lnTo>
                    <a:pt x="2056" y="718"/>
                  </a:lnTo>
                  <a:lnTo>
                    <a:pt x="2032" y="704"/>
                  </a:lnTo>
                  <a:lnTo>
                    <a:pt x="2008" y="692"/>
                  </a:lnTo>
                  <a:lnTo>
                    <a:pt x="1984" y="680"/>
                  </a:lnTo>
                  <a:lnTo>
                    <a:pt x="1958" y="672"/>
                  </a:lnTo>
                  <a:lnTo>
                    <a:pt x="1934" y="666"/>
                  </a:lnTo>
                  <a:lnTo>
                    <a:pt x="1908" y="664"/>
                  </a:lnTo>
                  <a:lnTo>
                    <a:pt x="1882" y="662"/>
                  </a:lnTo>
                  <a:lnTo>
                    <a:pt x="1882" y="662"/>
                  </a:lnTo>
                  <a:lnTo>
                    <a:pt x="1862" y="662"/>
                  </a:lnTo>
                  <a:lnTo>
                    <a:pt x="1842" y="664"/>
                  </a:lnTo>
                  <a:lnTo>
                    <a:pt x="1822" y="668"/>
                  </a:lnTo>
                  <a:lnTo>
                    <a:pt x="1804" y="674"/>
                  </a:lnTo>
                  <a:lnTo>
                    <a:pt x="1784" y="680"/>
                  </a:lnTo>
                  <a:lnTo>
                    <a:pt x="1764" y="688"/>
                  </a:lnTo>
                  <a:lnTo>
                    <a:pt x="1746" y="696"/>
                  </a:lnTo>
                  <a:lnTo>
                    <a:pt x="1728" y="708"/>
                  </a:lnTo>
                  <a:lnTo>
                    <a:pt x="1728" y="708"/>
                  </a:lnTo>
                  <a:lnTo>
                    <a:pt x="1708" y="720"/>
                  </a:lnTo>
                  <a:lnTo>
                    <a:pt x="1688" y="734"/>
                  </a:lnTo>
                  <a:lnTo>
                    <a:pt x="1688" y="734"/>
                  </a:lnTo>
                  <a:lnTo>
                    <a:pt x="1658" y="762"/>
                  </a:lnTo>
                  <a:lnTo>
                    <a:pt x="1634" y="788"/>
                  </a:lnTo>
                  <a:lnTo>
                    <a:pt x="1612" y="818"/>
                  </a:lnTo>
                  <a:lnTo>
                    <a:pt x="1596" y="848"/>
                  </a:lnTo>
                  <a:lnTo>
                    <a:pt x="1596" y="848"/>
                  </a:lnTo>
                  <a:lnTo>
                    <a:pt x="1584" y="878"/>
                  </a:lnTo>
                  <a:lnTo>
                    <a:pt x="1576" y="910"/>
                  </a:lnTo>
                  <a:lnTo>
                    <a:pt x="1572" y="942"/>
                  </a:lnTo>
                  <a:lnTo>
                    <a:pt x="1572" y="974"/>
                  </a:lnTo>
                  <a:lnTo>
                    <a:pt x="1572" y="974"/>
                  </a:lnTo>
                  <a:lnTo>
                    <a:pt x="1576" y="1008"/>
                  </a:lnTo>
                  <a:lnTo>
                    <a:pt x="1584" y="1040"/>
                  </a:lnTo>
                  <a:lnTo>
                    <a:pt x="1596" y="1072"/>
                  </a:lnTo>
                  <a:lnTo>
                    <a:pt x="1612" y="1104"/>
                  </a:lnTo>
                  <a:lnTo>
                    <a:pt x="1612" y="1104"/>
                  </a:lnTo>
                  <a:lnTo>
                    <a:pt x="1634" y="1134"/>
                  </a:lnTo>
                  <a:lnTo>
                    <a:pt x="1658" y="1166"/>
                  </a:lnTo>
                  <a:lnTo>
                    <a:pt x="1686" y="1194"/>
                  </a:lnTo>
                  <a:lnTo>
                    <a:pt x="1720" y="1222"/>
                  </a:lnTo>
                  <a:lnTo>
                    <a:pt x="1720" y="1222"/>
                  </a:lnTo>
                  <a:lnTo>
                    <a:pt x="1744" y="1240"/>
                  </a:lnTo>
                  <a:lnTo>
                    <a:pt x="1768" y="1256"/>
                  </a:lnTo>
                  <a:lnTo>
                    <a:pt x="1792" y="1268"/>
                  </a:lnTo>
                  <a:lnTo>
                    <a:pt x="1818" y="1278"/>
                  </a:lnTo>
                  <a:lnTo>
                    <a:pt x="1842" y="1286"/>
                  </a:lnTo>
                  <a:lnTo>
                    <a:pt x="1868" y="1292"/>
                  </a:lnTo>
                  <a:lnTo>
                    <a:pt x="1892" y="1296"/>
                  </a:lnTo>
                  <a:lnTo>
                    <a:pt x="1918" y="1296"/>
                  </a:lnTo>
                  <a:lnTo>
                    <a:pt x="1918" y="1296"/>
                  </a:lnTo>
                  <a:lnTo>
                    <a:pt x="1934" y="1296"/>
                  </a:lnTo>
                  <a:lnTo>
                    <a:pt x="1934" y="1296"/>
                  </a:lnTo>
                  <a:lnTo>
                    <a:pt x="1956" y="1294"/>
                  </a:lnTo>
                  <a:lnTo>
                    <a:pt x="1980" y="1290"/>
                  </a:lnTo>
                  <a:lnTo>
                    <a:pt x="2002" y="1284"/>
                  </a:lnTo>
                  <a:lnTo>
                    <a:pt x="2026" y="1276"/>
                  </a:lnTo>
                  <a:lnTo>
                    <a:pt x="2048" y="1264"/>
                  </a:lnTo>
                  <a:lnTo>
                    <a:pt x="2070" y="1252"/>
                  </a:lnTo>
                  <a:lnTo>
                    <a:pt x="2092" y="1238"/>
                  </a:lnTo>
                  <a:lnTo>
                    <a:pt x="2114" y="1222"/>
                  </a:lnTo>
                  <a:lnTo>
                    <a:pt x="2114" y="1222"/>
                  </a:lnTo>
                  <a:lnTo>
                    <a:pt x="2142" y="1196"/>
                  </a:lnTo>
                  <a:lnTo>
                    <a:pt x="2168" y="1168"/>
                  </a:lnTo>
                  <a:lnTo>
                    <a:pt x="2188" y="1140"/>
                  </a:lnTo>
                  <a:lnTo>
                    <a:pt x="2204" y="1110"/>
                  </a:lnTo>
                  <a:lnTo>
                    <a:pt x="2204" y="1110"/>
                  </a:lnTo>
                  <a:lnTo>
                    <a:pt x="2216" y="1078"/>
                  </a:lnTo>
                  <a:lnTo>
                    <a:pt x="2224" y="1048"/>
                  </a:lnTo>
                  <a:lnTo>
                    <a:pt x="2228" y="1016"/>
                  </a:lnTo>
                  <a:lnTo>
                    <a:pt x="2228" y="982"/>
                  </a:lnTo>
                  <a:lnTo>
                    <a:pt x="2228" y="982"/>
                  </a:lnTo>
                  <a:close/>
                  <a:moveTo>
                    <a:pt x="2034" y="992"/>
                  </a:moveTo>
                  <a:lnTo>
                    <a:pt x="2034" y="992"/>
                  </a:lnTo>
                  <a:lnTo>
                    <a:pt x="2016" y="966"/>
                  </a:lnTo>
                  <a:lnTo>
                    <a:pt x="1994" y="938"/>
                  </a:lnTo>
                  <a:lnTo>
                    <a:pt x="1994" y="938"/>
                  </a:lnTo>
                  <a:lnTo>
                    <a:pt x="1970" y="910"/>
                  </a:lnTo>
                  <a:lnTo>
                    <a:pt x="1944" y="884"/>
                  </a:lnTo>
                  <a:lnTo>
                    <a:pt x="1944" y="884"/>
                  </a:lnTo>
                  <a:lnTo>
                    <a:pt x="1918" y="858"/>
                  </a:lnTo>
                  <a:lnTo>
                    <a:pt x="1890" y="836"/>
                  </a:lnTo>
                  <a:lnTo>
                    <a:pt x="1890" y="836"/>
                  </a:lnTo>
                  <a:lnTo>
                    <a:pt x="1866" y="818"/>
                  </a:lnTo>
                  <a:lnTo>
                    <a:pt x="1842" y="804"/>
                  </a:lnTo>
                  <a:lnTo>
                    <a:pt x="1822" y="794"/>
                  </a:lnTo>
                  <a:lnTo>
                    <a:pt x="1800" y="788"/>
                  </a:lnTo>
                  <a:lnTo>
                    <a:pt x="1782" y="786"/>
                  </a:lnTo>
                  <a:lnTo>
                    <a:pt x="1764" y="788"/>
                  </a:lnTo>
                  <a:lnTo>
                    <a:pt x="1748" y="794"/>
                  </a:lnTo>
                  <a:lnTo>
                    <a:pt x="1734" y="804"/>
                  </a:lnTo>
                  <a:lnTo>
                    <a:pt x="1734" y="804"/>
                  </a:lnTo>
                  <a:lnTo>
                    <a:pt x="1722" y="814"/>
                  </a:lnTo>
                  <a:lnTo>
                    <a:pt x="1716" y="828"/>
                  </a:lnTo>
                  <a:lnTo>
                    <a:pt x="1712" y="842"/>
                  </a:lnTo>
                  <a:lnTo>
                    <a:pt x="1710" y="858"/>
                  </a:lnTo>
                  <a:lnTo>
                    <a:pt x="1710" y="858"/>
                  </a:lnTo>
                  <a:lnTo>
                    <a:pt x="1712" y="878"/>
                  </a:lnTo>
                  <a:lnTo>
                    <a:pt x="1716" y="896"/>
                  </a:lnTo>
                  <a:lnTo>
                    <a:pt x="1724" y="916"/>
                  </a:lnTo>
                  <a:lnTo>
                    <a:pt x="1734" y="938"/>
                  </a:lnTo>
                  <a:lnTo>
                    <a:pt x="1734" y="938"/>
                  </a:lnTo>
                  <a:lnTo>
                    <a:pt x="1746" y="960"/>
                  </a:lnTo>
                  <a:lnTo>
                    <a:pt x="1762" y="984"/>
                  </a:lnTo>
                  <a:lnTo>
                    <a:pt x="1780" y="1008"/>
                  </a:lnTo>
                  <a:lnTo>
                    <a:pt x="1800" y="1032"/>
                  </a:lnTo>
                  <a:lnTo>
                    <a:pt x="1800" y="1032"/>
                  </a:lnTo>
                  <a:lnTo>
                    <a:pt x="1822" y="1056"/>
                  </a:lnTo>
                  <a:lnTo>
                    <a:pt x="1846" y="1080"/>
                  </a:lnTo>
                  <a:lnTo>
                    <a:pt x="1872" y="1104"/>
                  </a:lnTo>
                  <a:lnTo>
                    <a:pt x="1900" y="1126"/>
                  </a:lnTo>
                  <a:lnTo>
                    <a:pt x="1900" y="1126"/>
                  </a:lnTo>
                  <a:lnTo>
                    <a:pt x="1926" y="1146"/>
                  </a:lnTo>
                  <a:lnTo>
                    <a:pt x="1950" y="1160"/>
                  </a:lnTo>
                  <a:lnTo>
                    <a:pt x="1970" y="1170"/>
                  </a:lnTo>
                  <a:lnTo>
                    <a:pt x="1990" y="1176"/>
                  </a:lnTo>
                  <a:lnTo>
                    <a:pt x="1990" y="1176"/>
                  </a:lnTo>
                  <a:lnTo>
                    <a:pt x="2008" y="1180"/>
                  </a:lnTo>
                  <a:lnTo>
                    <a:pt x="2024" y="1178"/>
                  </a:lnTo>
                  <a:lnTo>
                    <a:pt x="2040" y="1172"/>
                  </a:lnTo>
                  <a:lnTo>
                    <a:pt x="2054" y="1162"/>
                  </a:lnTo>
                  <a:lnTo>
                    <a:pt x="2054" y="1162"/>
                  </a:lnTo>
                  <a:lnTo>
                    <a:pt x="2064" y="1152"/>
                  </a:lnTo>
                  <a:lnTo>
                    <a:pt x="2072" y="1140"/>
                  </a:lnTo>
                  <a:lnTo>
                    <a:pt x="2078" y="1128"/>
                  </a:lnTo>
                  <a:lnTo>
                    <a:pt x="2080" y="1114"/>
                  </a:lnTo>
                  <a:lnTo>
                    <a:pt x="2080" y="1100"/>
                  </a:lnTo>
                  <a:lnTo>
                    <a:pt x="2078" y="1082"/>
                  </a:lnTo>
                  <a:lnTo>
                    <a:pt x="2074" y="1066"/>
                  </a:lnTo>
                  <a:lnTo>
                    <a:pt x="2066" y="1046"/>
                  </a:lnTo>
                  <a:lnTo>
                    <a:pt x="2066" y="1046"/>
                  </a:lnTo>
                  <a:lnTo>
                    <a:pt x="2052" y="1020"/>
                  </a:lnTo>
                  <a:lnTo>
                    <a:pt x="2034" y="992"/>
                  </a:lnTo>
                  <a:lnTo>
                    <a:pt x="2034" y="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21" name="Titel 2"/>
          <p:cNvSpPr txBox="1">
            <a:spLocks/>
          </p:cNvSpPr>
          <p:nvPr/>
        </p:nvSpPr>
        <p:spPr>
          <a:xfrm>
            <a:off x="856878" y="653069"/>
            <a:ext cx="5760640" cy="397877"/>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spcAft>
                <a:spcPts val="600"/>
              </a:spcAft>
            </a:pPr>
            <a:r>
              <a:rPr lang="de-DE" dirty="0"/>
              <a:t>Welche Leistungen </a:t>
            </a:r>
            <a:r>
              <a:rPr lang="de-DE" dirty="0" smtClean="0"/>
              <a:t>müssen versteuert werden?</a:t>
            </a:r>
            <a:endParaRPr lang="de-DE" dirty="0"/>
          </a:p>
        </p:txBody>
      </p:sp>
    </p:spTree>
    <p:extLst>
      <p:ext uri="{BB962C8B-B14F-4D97-AF65-F5344CB8AC3E}">
        <p14:creationId xmlns:p14="http://schemas.microsoft.com/office/powerpoint/2010/main" val="27588314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2393"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70" name="Flowchart: Process 69">
            <a:extLst>
              <a:ext uri="{FF2B5EF4-FFF2-40B4-BE49-F238E27FC236}">
                <a16:creationId xmlns:a16="http://schemas.microsoft.com/office/drawing/2014/main" xmlns="" id="{EA0D0DEB-4277-4E1D-AFE7-BCADA77E699C}"/>
              </a:ext>
            </a:extLst>
          </p:cNvPr>
          <p:cNvSpPr/>
          <p:nvPr/>
        </p:nvSpPr>
        <p:spPr>
          <a:xfrm>
            <a:off x="412209" y="2253304"/>
            <a:ext cx="577650" cy="576000"/>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b="1" dirty="0">
              <a:solidFill>
                <a:schemeClr val="accent3"/>
              </a:solidFill>
              <a:latin typeface="Calibri" panose="020F0502020204030204" pitchFamily="34" charset="0"/>
              <a:cs typeface="Calibri" panose="020F0502020204030204" pitchFamily="34" charset="0"/>
            </a:endParaRPr>
          </a:p>
        </p:txBody>
      </p:sp>
      <p:sp>
        <p:nvSpPr>
          <p:cNvPr id="13" name="Title 1">
            <a:extLst>
              <a:ext uri="{FF2B5EF4-FFF2-40B4-BE49-F238E27FC236}">
                <a16:creationId xmlns:a16="http://schemas.microsoft.com/office/drawing/2014/main" xmlns="" id="{A9BDD5F1-00B1-4BBD-80A1-AD0E8379F4E7}"/>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RAHMENBEDINGUNGEN</a:t>
            </a:r>
          </a:p>
          <a:p>
            <a:pPr>
              <a:spcAft>
                <a:spcPts val="600"/>
              </a:spcAft>
            </a:pPr>
            <a:endParaRPr lang="de-DE" sz="1400" dirty="0">
              <a:latin typeface="Calibri" panose="020F0502020204030204" pitchFamily="34" charset="0"/>
              <a:cs typeface="Times New Roman" panose="02020603050405020304" pitchFamily="18" charset="0"/>
            </a:endParaRPr>
          </a:p>
        </p:txBody>
      </p:sp>
      <p:sp>
        <p:nvSpPr>
          <p:cNvPr id="11" name="Slide Number Placeholder 8">
            <a:extLst>
              <a:ext uri="{FF2B5EF4-FFF2-40B4-BE49-F238E27FC236}">
                <a16:creationId xmlns:a16="http://schemas.microsoft.com/office/drawing/2014/main" xmlns="" id="{B60CFDCC-D4EB-4E1C-9C9A-2CD90EA4DDA0}"/>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
        <p:nvSpPr>
          <p:cNvPr id="12" name="Date Placeholder 11">
            <a:extLst>
              <a:ext uri="{FF2B5EF4-FFF2-40B4-BE49-F238E27FC236}">
                <a16:creationId xmlns:a16="http://schemas.microsoft.com/office/drawing/2014/main" xmlns="" id="{67CAD1B1-1B53-4DF5-9CEA-59582C23434A}"/>
              </a:ext>
            </a:extLst>
          </p:cNvPr>
          <p:cNvSpPr>
            <a:spLocks noGrp="1"/>
          </p:cNvSpPr>
          <p:nvPr>
            <p:ph type="dt" sz="half" idx="10"/>
          </p:nvPr>
        </p:nvSpPr>
        <p:spPr/>
        <p:txBody>
          <a:bodyPr/>
          <a:lstStyle/>
          <a:p>
            <a:fld id="{CE241A6D-666D-4270-86AF-0D5F0C98734B}" type="datetime1">
              <a:rPr lang="de-DE" smtClean="0"/>
              <a:t>06.07.2021</a:t>
            </a:fld>
            <a:endParaRPr lang="de-DE" dirty="0"/>
          </a:p>
        </p:txBody>
      </p:sp>
      <p:sp>
        <p:nvSpPr>
          <p:cNvPr id="19" name="Footer Placeholder 18">
            <a:extLst>
              <a:ext uri="{FF2B5EF4-FFF2-40B4-BE49-F238E27FC236}">
                <a16:creationId xmlns:a16="http://schemas.microsoft.com/office/drawing/2014/main" xmlns="" id="{07A84386-C6C4-4C1C-A906-FDC416943E65}"/>
              </a:ext>
            </a:extLst>
          </p:cNvPr>
          <p:cNvSpPr>
            <a:spLocks noGrp="1"/>
          </p:cNvSpPr>
          <p:nvPr>
            <p:ph type="ftr" sz="quarter" idx="11"/>
          </p:nvPr>
        </p:nvSpPr>
        <p:spPr/>
        <p:txBody>
          <a:bodyPr/>
          <a:lstStyle/>
          <a:p>
            <a:r>
              <a:rPr lang="de-DE" dirty="0"/>
              <a:t>EKHN</a:t>
            </a:r>
          </a:p>
        </p:txBody>
      </p:sp>
      <p:sp>
        <p:nvSpPr>
          <p:cNvPr id="2" name="Foliennummernplatzhalter 1"/>
          <p:cNvSpPr>
            <a:spLocks noGrp="1"/>
          </p:cNvSpPr>
          <p:nvPr>
            <p:ph type="sldNum" sz="quarter" idx="12"/>
          </p:nvPr>
        </p:nvSpPr>
        <p:spPr/>
        <p:txBody>
          <a:bodyPr/>
          <a:lstStyle/>
          <a:p>
            <a:fld id="{1C198799-69ED-41F3-BD93-533E14B4A78A}" type="slidenum">
              <a:rPr lang="de-DE" smtClean="0"/>
              <a:pPr/>
              <a:t>15</a:t>
            </a:fld>
            <a:endParaRPr lang="de-DE"/>
          </a:p>
        </p:txBody>
      </p:sp>
      <p:sp>
        <p:nvSpPr>
          <p:cNvPr id="6" name="Rectangle 5">
            <a:extLst>
              <a:ext uri="{FF2B5EF4-FFF2-40B4-BE49-F238E27FC236}">
                <a16:creationId xmlns:a16="http://schemas.microsoft.com/office/drawing/2014/main" xmlns="" id="{6605E137-5077-4674-8EA1-7A467411A7E2}"/>
              </a:ext>
            </a:extLst>
          </p:cNvPr>
          <p:cNvSpPr/>
          <p:nvPr/>
        </p:nvSpPr>
        <p:spPr>
          <a:xfrm>
            <a:off x="701036" y="2244970"/>
            <a:ext cx="4429784" cy="2632992"/>
          </a:xfrm>
          <a:prstGeom prst="rect">
            <a:avLst/>
          </a:prstGeom>
          <a:solidFill>
            <a:schemeClr val="bg1">
              <a:lumMod val="85000"/>
            </a:schemeClr>
          </a:solidFill>
        </p:spPr>
        <p:txBody>
          <a:bodyPr wrap="square" lIns="144000" tIns="144000" rIns="144000" bIns="144000" anchor="ctr">
            <a:spAutoFit/>
          </a:bodyPr>
          <a:lstStyle/>
          <a:p>
            <a:pPr>
              <a:lnSpc>
                <a:spcPct val="115000"/>
              </a:lnSpc>
              <a:spcAft>
                <a:spcPts val="600"/>
              </a:spcAft>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Kirchengemeinden sind </a:t>
            </a:r>
            <a:r>
              <a:rPr lang="de-DE" sz="1600" b="1" dirty="0">
                <a:solidFill>
                  <a:srgbClr val="572381"/>
                </a:solidFill>
                <a:latin typeface="Calibri" panose="020F0502020204030204" pitchFamily="34" charset="0"/>
                <a:ea typeface="Calibri" panose="020F0502020204030204" pitchFamily="34" charset="0"/>
                <a:cs typeface="Times New Roman" panose="02020603050405020304" pitchFamily="18" charset="0"/>
              </a:rPr>
              <a:t>Kleinunternehmer</a:t>
            </a: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 wenn ihre steuerpflichtigen Umsätze die Umsatzgrenzen des § 19 UStG nicht übersteigen </a:t>
            </a:r>
          </a:p>
          <a:p>
            <a:pPr>
              <a:lnSpc>
                <a:spcPct val="115000"/>
              </a:lnSpc>
            </a:pPr>
            <a:r>
              <a:rPr lang="de-DE" sz="1600" u="sng" dirty="0">
                <a:solidFill>
                  <a:srgbClr val="572381"/>
                </a:solidFill>
                <a:latin typeface="Calibri" panose="020F0502020204030204" pitchFamily="34" charset="0"/>
                <a:ea typeface="Calibri" panose="020F0502020204030204" pitchFamily="34" charset="0"/>
                <a:cs typeface="Times New Roman" panose="02020603050405020304" pitchFamily="18" charset="0"/>
              </a:rPr>
              <a:t>Folgen:</a:t>
            </a:r>
          </a:p>
          <a:p>
            <a:pPr marL="285750" indent="-285750">
              <a:lnSpc>
                <a:spcPct val="115000"/>
              </a:lnSpc>
              <a:buFontTx/>
              <a:buChar char="-"/>
            </a:pPr>
            <a:r>
              <a:rPr lang="de-DE" sz="1600" b="1" dirty="0">
                <a:solidFill>
                  <a:srgbClr val="572381"/>
                </a:solidFill>
                <a:latin typeface="Calibri" panose="020F0502020204030204" pitchFamily="34" charset="0"/>
                <a:ea typeface="Calibri" panose="020F0502020204030204" pitchFamily="34" charset="0"/>
                <a:cs typeface="Times New Roman" panose="02020603050405020304" pitchFamily="18" charset="0"/>
              </a:rPr>
              <a:t>Umsatzsteuer wird nicht erhoben</a:t>
            </a:r>
          </a:p>
          <a:p>
            <a:pPr marL="285750" indent="-285750">
              <a:lnSpc>
                <a:spcPct val="115000"/>
              </a:lnSpc>
              <a:buFontTx/>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Keine Abgabe von Umsatzsteuervoranmeldungen</a:t>
            </a:r>
          </a:p>
          <a:p>
            <a:pPr marL="285750" indent="-285750">
              <a:lnSpc>
                <a:spcPct val="115000"/>
              </a:lnSpc>
              <a:buFontTx/>
              <a:buChar char="-"/>
            </a:pPr>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Keine Umsatzsteuererklärungen </a:t>
            </a:r>
          </a:p>
        </p:txBody>
      </p:sp>
      <p:cxnSp>
        <p:nvCxnSpPr>
          <p:cNvPr id="43" name="Straight Connector 42">
            <a:extLst>
              <a:ext uri="{FF2B5EF4-FFF2-40B4-BE49-F238E27FC236}">
                <a16:creationId xmlns:a16="http://schemas.microsoft.com/office/drawing/2014/main" xmlns="" id="{612424EE-FD54-4437-9D6C-F8917AB2DCF6}"/>
              </a:ext>
            </a:extLst>
          </p:cNvPr>
          <p:cNvCxnSpPr>
            <a:cxnSpLocks/>
            <a:stCxn id="6" idx="3"/>
            <a:endCxn id="40" idx="1"/>
          </p:cNvCxnSpPr>
          <p:nvPr/>
        </p:nvCxnSpPr>
        <p:spPr>
          <a:xfrm flipV="1">
            <a:off x="5130820" y="2272788"/>
            <a:ext cx="1693368" cy="1288678"/>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xmlns="" id="{575CEE4D-DA38-41DB-BC3D-67E83FB86042}"/>
              </a:ext>
            </a:extLst>
          </p:cNvPr>
          <p:cNvCxnSpPr>
            <a:cxnSpLocks/>
            <a:stCxn id="6" idx="3"/>
            <a:endCxn id="37" idx="1"/>
          </p:cNvCxnSpPr>
          <p:nvPr/>
        </p:nvCxnSpPr>
        <p:spPr>
          <a:xfrm flipV="1">
            <a:off x="5130820" y="3334007"/>
            <a:ext cx="1693368" cy="227459"/>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xmlns="" id="{8F337955-D284-4195-BD09-62928C75BCAC}"/>
              </a:ext>
            </a:extLst>
          </p:cNvPr>
          <p:cNvCxnSpPr>
            <a:cxnSpLocks/>
            <a:stCxn id="6" idx="3"/>
            <a:endCxn id="34" idx="1"/>
          </p:cNvCxnSpPr>
          <p:nvPr/>
        </p:nvCxnSpPr>
        <p:spPr>
          <a:xfrm>
            <a:off x="5130820" y="3561466"/>
            <a:ext cx="1693368" cy="833758"/>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nvGrpSpPr>
          <p:cNvPr id="72" name="Group 71">
            <a:extLst>
              <a:ext uri="{FF2B5EF4-FFF2-40B4-BE49-F238E27FC236}">
                <a16:creationId xmlns:a16="http://schemas.microsoft.com/office/drawing/2014/main" xmlns="" id="{4A8E2ABF-464A-4B22-AE3C-5B495D196D8E}"/>
              </a:ext>
            </a:extLst>
          </p:cNvPr>
          <p:cNvGrpSpPr/>
          <p:nvPr/>
        </p:nvGrpSpPr>
        <p:grpSpPr>
          <a:xfrm>
            <a:off x="6824188" y="1924258"/>
            <a:ext cx="4304403" cy="3872862"/>
            <a:chOff x="5896266" y="2423987"/>
            <a:chExt cx="4292108" cy="3675145"/>
          </a:xfrm>
        </p:grpSpPr>
        <p:grpSp>
          <p:nvGrpSpPr>
            <p:cNvPr id="28" name="Group 27">
              <a:extLst>
                <a:ext uri="{FF2B5EF4-FFF2-40B4-BE49-F238E27FC236}">
                  <a16:creationId xmlns:a16="http://schemas.microsoft.com/office/drawing/2014/main" xmlns="" id="{34DAF50A-E644-4AC5-9F67-C9749CF59D09}"/>
                </a:ext>
              </a:extLst>
            </p:cNvPr>
            <p:cNvGrpSpPr/>
            <p:nvPr/>
          </p:nvGrpSpPr>
          <p:grpSpPr>
            <a:xfrm>
              <a:off x="5896266" y="2423987"/>
              <a:ext cx="4292108" cy="2675554"/>
              <a:chOff x="1328222" y="2315391"/>
              <a:chExt cx="9644117" cy="2675554"/>
            </a:xfrm>
          </p:grpSpPr>
          <p:grpSp>
            <p:nvGrpSpPr>
              <p:cNvPr id="29" name="Group 28">
                <a:extLst>
                  <a:ext uri="{FF2B5EF4-FFF2-40B4-BE49-F238E27FC236}">
                    <a16:creationId xmlns:a16="http://schemas.microsoft.com/office/drawing/2014/main" xmlns="" id="{F16F75FC-7B50-402B-A3F6-6E19CE3BC0D9}"/>
                  </a:ext>
                </a:extLst>
              </p:cNvPr>
              <p:cNvGrpSpPr/>
              <p:nvPr/>
            </p:nvGrpSpPr>
            <p:grpSpPr>
              <a:xfrm>
                <a:off x="1328222" y="2315391"/>
                <a:ext cx="9644117" cy="661472"/>
                <a:chOff x="824947" y="2691975"/>
                <a:chExt cx="9644117" cy="440276"/>
              </a:xfrm>
            </p:grpSpPr>
            <p:sp>
              <p:nvSpPr>
                <p:cNvPr id="40" name="Rectangle: Rounded Corners 39">
                  <a:extLst>
                    <a:ext uri="{FF2B5EF4-FFF2-40B4-BE49-F238E27FC236}">
                      <a16:creationId xmlns:a16="http://schemas.microsoft.com/office/drawing/2014/main" xmlns="" id="{1EE95D9D-7A21-4A7C-9C87-52BBA9644F2E}"/>
                    </a:ext>
                  </a:extLst>
                </p:cNvPr>
                <p:cNvSpPr/>
                <p:nvPr/>
              </p:nvSpPr>
              <p:spPr>
                <a:xfrm>
                  <a:off x="824947" y="2691976"/>
                  <a:ext cx="628667"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solidFill>
                      <a:srgbClr val="572381"/>
                    </a:solidFill>
                  </a:endParaRPr>
                </a:p>
              </p:txBody>
            </p:sp>
            <p:sp>
              <p:nvSpPr>
                <p:cNvPr id="41" name="Rectangle 40">
                  <a:extLst>
                    <a:ext uri="{FF2B5EF4-FFF2-40B4-BE49-F238E27FC236}">
                      <a16:creationId xmlns:a16="http://schemas.microsoft.com/office/drawing/2014/main" xmlns="" id="{08B81DEA-D892-4434-A73D-CC19C5C22ABC}"/>
                    </a:ext>
                  </a:extLst>
                </p:cNvPr>
                <p:cNvSpPr/>
                <p:nvPr/>
              </p:nvSpPr>
              <p:spPr>
                <a:xfrm>
                  <a:off x="1407601" y="2691975"/>
                  <a:ext cx="9061463" cy="4402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a:solidFill>
                        <a:srgbClr val="572381"/>
                      </a:solidFill>
                      <a:latin typeface="Calibri" panose="020F0502020204030204" pitchFamily="34" charset="0"/>
                      <a:cs typeface="Times New Roman" panose="02020603050405020304" pitchFamily="18" charset="0"/>
                    </a:rPr>
                    <a:t>Umsätze dürfen im zurückliegenden Kalenderjahr maximal 22.000 Euro</a:t>
                  </a:r>
                  <a:endParaRPr lang="de-DE" sz="1400" dirty="0">
                    <a:solidFill>
                      <a:srgbClr val="572381"/>
                    </a:solidFill>
                    <a:latin typeface="Calibri" panose="020F0502020204030204" pitchFamily="34" charset="0"/>
                    <a:cs typeface="Times New Roman" panose="02020603050405020304" pitchFamily="18" charset="0"/>
                  </a:endParaRPr>
                </a:p>
              </p:txBody>
            </p:sp>
          </p:grpSp>
          <p:grpSp>
            <p:nvGrpSpPr>
              <p:cNvPr id="31" name="Group 30">
                <a:extLst>
                  <a:ext uri="{FF2B5EF4-FFF2-40B4-BE49-F238E27FC236}">
                    <a16:creationId xmlns:a16="http://schemas.microsoft.com/office/drawing/2014/main" xmlns="" id="{CA18511A-DAB6-4C61-8B56-92CF6E5532D0}"/>
                  </a:ext>
                </a:extLst>
              </p:cNvPr>
              <p:cNvGrpSpPr/>
              <p:nvPr/>
            </p:nvGrpSpPr>
            <p:grpSpPr>
              <a:xfrm>
                <a:off x="1328222" y="3322433"/>
                <a:ext cx="9644117" cy="661472"/>
                <a:chOff x="824947" y="3242322"/>
                <a:chExt cx="9644117" cy="440276"/>
              </a:xfrm>
            </p:grpSpPr>
            <p:sp>
              <p:nvSpPr>
                <p:cNvPr id="37" name="Rectangle: Rounded Corners 36">
                  <a:extLst>
                    <a:ext uri="{FF2B5EF4-FFF2-40B4-BE49-F238E27FC236}">
                      <a16:creationId xmlns:a16="http://schemas.microsoft.com/office/drawing/2014/main" xmlns="" id="{23717167-3E77-475F-AE82-37EE2DC3ACF1}"/>
                    </a:ext>
                  </a:extLst>
                </p:cNvPr>
                <p:cNvSpPr/>
                <p:nvPr/>
              </p:nvSpPr>
              <p:spPr>
                <a:xfrm>
                  <a:off x="824947" y="3242323"/>
                  <a:ext cx="628666"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solidFill>
                      <a:srgbClr val="572381"/>
                    </a:solidFill>
                  </a:endParaRPr>
                </a:p>
              </p:txBody>
            </p:sp>
            <p:sp>
              <p:nvSpPr>
                <p:cNvPr id="38" name="Rectangle 37">
                  <a:extLst>
                    <a:ext uri="{FF2B5EF4-FFF2-40B4-BE49-F238E27FC236}">
                      <a16:creationId xmlns:a16="http://schemas.microsoft.com/office/drawing/2014/main" xmlns="" id="{777DC47A-A5C2-4190-899E-1D035867D017}"/>
                    </a:ext>
                  </a:extLst>
                </p:cNvPr>
                <p:cNvSpPr/>
                <p:nvPr/>
              </p:nvSpPr>
              <p:spPr>
                <a:xfrm>
                  <a:off x="1407601" y="3242322"/>
                  <a:ext cx="9061463" cy="4402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b="1" dirty="0">
                      <a:solidFill>
                        <a:srgbClr val="572381"/>
                      </a:solidFill>
                      <a:latin typeface="Calibri" panose="020F0502020204030204" pitchFamily="34" charset="0"/>
                      <a:cs typeface="Times New Roman" panose="02020603050405020304" pitchFamily="18" charset="0"/>
                    </a:rPr>
                    <a:t>und</a:t>
                  </a:r>
                  <a:r>
                    <a:rPr lang="de-DE" sz="1600" dirty="0">
                      <a:solidFill>
                        <a:srgbClr val="572381"/>
                      </a:solidFill>
                      <a:latin typeface="Calibri" panose="020F0502020204030204" pitchFamily="34" charset="0"/>
                      <a:cs typeface="Times New Roman" panose="02020603050405020304" pitchFamily="18" charset="0"/>
                    </a:rPr>
                    <a:t> im laufenden Kalenderjahr maximal </a:t>
                  </a:r>
                  <a:br>
                    <a:rPr lang="de-DE" sz="1600" dirty="0">
                      <a:solidFill>
                        <a:srgbClr val="572381"/>
                      </a:solidFill>
                      <a:latin typeface="Calibri" panose="020F0502020204030204" pitchFamily="34" charset="0"/>
                      <a:cs typeface="Times New Roman" panose="02020603050405020304" pitchFamily="18" charset="0"/>
                    </a:rPr>
                  </a:br>
                  <a:r>
                    <a:rPr lang="de-DE" sz="1600" dirty="0">
                      <a:solidFill>
                        <a:srgbClr val="572381"/>
                      </a:solidFill>
                      <a:latin typeface="Calibri" panose="020F0502020204030204" pitchFamily="34" charset="0"/>
                      <a:cs typeface="Times New Roman" panose="02020603050405020304" pitchFamily="18" charset="0"/>
                    </a:rPr>
                    <a:t>50.000 Euro betragen</a:t>
                  </a:r>
                </a:p>
              </p:txBody>
            </p:sp>
          </p:grpSp>
          <p:grpSp>
            <p:nvGrpSpPr>
              <p:cNvPr id="32" name="Group 31">
                <a:extLst>
                  <a:ext uri="{FF2B5EF4-FFF2-40B4-BE49-F238E27FC236}">
                    <a16:creationId xmlns:a16="http://schemas.microsoft.com/office/drawing/2014/main" xmlns="" id="{1265A863-AEA7-4E97-AF9A-7539BFB42DED}"/>
                  </a:ext>
                </a:extLst>
              </p:cNvPr>
              <p:cNvGrpSpPr/>
              <p:nvPr/>
            </p:nvGrpSpPr>
            <p:grpSpPr>
              <a:xfrm>
                <a:off x="1328222" y="4329469"/>
                <a:ext cx="9635789" cy="661476"/>
                <a:chOff x="824948" y="3810766"/>
                <a:chExt cx="9635789" cy="440279"/>
              </a:xfrm>
            </p:grpSpPr>
            <p:sp>
              <p:nvSpPr>
                <p:cNvPr id="34" name="Rectangle: Rounded Corners 33">
                  <a:extLst>
                    <a:ext uri="{FF2B5EF4-FFF2-40B4-BE49-F238E27FC236}">
                      <a16:creationId xmlns:a16="http://schemas.microsoft.com/office/drawing/2014/main" xmlns="" id="{59175490-164D-4840-A340-4DB6BAB8237A}"/>
                    </a:ext>
                  </a:extLst>
                </p:cNvPr>
                <p:cNvSpPr/>
                <p:nvPr/>
              </p:nvSpPr>
              <p:spPr>
                <a:xfrm>
                  <a:off x="824948" y="3810770"/>
                  <a:ext cx="614929"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solidFill>
                      <a:srgbClr val="572381"/>
                    </a:solidFill>
                  </a:endParaRPr>
                </a:p>
              </p:txBody>
            </p:sp>
            <p:sp>
              <p:nvSpPr>
                <p:cNvPr id="35" name="Rectangle 34">
                  <a:extLst>
                    <a:ext uri="{FF2B5EF4-FFF2-40B4-BE49-F238E27FC236}">
                      <a16:creationId xmlns:a16="http://schemas.microsoft.com/office/drawing/2014/main" xmlns="" id="{7C0CCE68-3419-467D-BC67-76E3A18AE96F}"/>
                    </a:ext>
                  </a:extLst>
                </p:cNvPr>
                <p:cNvSpPr/>
                <p:nvPr/>
              </p:nvSpPr>
              <p:spPr>
                <a:xfrm>
                  <a:off x="1368780" y="3810766"/>
                  <a:ext cx="9091957" cy="44027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a:solidFill>
                        <a:srgbClr val="572381"/>
                      </a:solidFill>
                      <a:latin typeface="Calibri" panose="020F0502020204030204" pitchFamily="34" charset="0"/>
                      <a:cs typeface="Times New Roman" panose="02020603050405020304" pitchFamily="18" charset="0"/>
                    </a:rPr>
                    <a:t>Einhaltung der Umsatzgrenzen für jedes Kalenderjahr neu zu prüfen</a:t>
                  </a:r>
                </a:p>
              </p:txBody>
            </p:sp>
          </p:grpSp>
        </p:grpSp>
        <p:sp>
          <p:nvSpPr>
            <p:cNvPr id="52" name="Rectangle: Rounded Corners 51">
              <a:extLst>
                <a:ext uri="{FF2B5EF4-FFF2-40B4-BE49-F238E27FC236}">
                  <a16:creationId xmlns:a16="http://schemas.microsoft.com/office/drawing/2014/main" xmlns="" id="{48761863-2019-4B80-ADC2-2A87371192C9}"/>
                </a:ext>
              </a:extLst>
            </p:cNvPr>
            <p:cNvSpPr/>
            <p:nvPr/>
          </p:nvSpPr>
          <p:spPr>
            <a:xfrm>
              <a:off x="5896267" y="5437656"/>
              <a:ext cx="273674" cy="661473"/>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solidFill>
                  <a:srgbClr val="572381"/>
                </a:solidFill>
              </a:endParaRPr>
            </a:p>
          </p:txBody>
        </p:sp>
        <p:sp>
          <p:nvSpPr>
            <p:cNvPr id="53" name="Rectangle 52">
              <a:extLst>
                <a:ext uri="{FF2B5EF4-FFF2-40B4-BE49-F238E27FC236}">
                  <a16:creationId xmlns:a16="http://schemas.microsoft.com/office/drawing/2014/main" xmlns="" id="{ABB4241E-0D39-475E-AD11-440B7DD6B01F}"/>
                </a:ext>
              </a:extLst>
            </p:cNvPr>
            <p:cNvSpPr/>
            <p:nvPr/>
          </p:nvSpPr>
          <p:spPr>
            <a:xfrm>
              <a:off x="6142004" y="5437656"/>
              <a:ext cx="4046370" cy="6614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a:solidFill>
                    <a:srgbClr val="572381"/>
                  </a:solidFill>
                  <a:latin typeface="Calibri" panose="020F0502020204030204" pitchFamily="34" charset="0"/>
                  <a:cs typeface="Times New Roman" panose="02020603050405020304" pitchFamily="18" charset="0"/>
                </a:rPr>
                <a:t>Daher gelten umsatzsteuerliche </a:t>
              </a:r>
              <a:r>
                <a:rPr lang="de-DE" sz="1600" dirty="0" err="1">
                  <a:solidFill>
                    <a:srgbClr val="572381"/>
                  </a:solidFill>
                  <a:latin typeface="Calibri" panose="020F0502020204030204" pitchFamily="34" charset="0"/>
                  <a:cs typeface="Times New Roman" panose="02020603050405020304" pitchFamily="18" charset="0"/>
                </a:rPr>
                <a:t>Aufzeich-nungspflichten</a:t>
              </a:r>
              <a:r>
                <a:rPr lang="de-DE" sz="1600" dirty="0">
                  <a:solidFill>
                    <a:srgbClr val="572381"/>
                  </a:solidFill>
                  <a:latin typeface="Calibri" panose="020F0502020204030204" pitchFamily="34" charset="0"/>
                  <a:cs typeface="Times New Roman" panose="02020603050405020304" pitchFamily="18" charset="0"/>
                </a:rPr>
                <a:t> auch für Kleinunternehmer</a:t>
              </a:r>
            </a:p>
          </p:txBody>
        </p:sp>
      </p:grpSp>
      <p:grpSp>
        <p:nvGrpSpPr>
          <p:cNvPr id="80" name="Group 79">
            <a:extLst>
              <a:ext uri="{FF2B5EF4-FFF2-40B4-BE49-F238E27FC236}">
                <a16:creationId xmlns:a16="http://schemas.microsoft.com/office/drawing/2014/main" xmlns="" id="{9BD0FC14-4850-4B57-8DB8-A1BD02077E84}"/>
              </a:ext>
            </a:extLst>
          </p:cNvPr>
          <p:cNvGrpSpPr/>
          <p:nvPr/>
        </p:nvGrpSpPr>
        <p:grpSpPr>
          <a:xfrm>
            <a:off x="1015929" y="4998495"/>
            <a:ext cx="3868449" cy="661720"/>
            <a:chOff x="1121818" y="4878081"/>
            <a:chExt cx="3243072" cy="661720"/>
          </a:xfrm>
        </p:grpSpPr>
        <p:sp>
          <p:nvSpPr>
            <p:cNvPr id="48" name="Rectangle 47">
              <a:extLst>
                <a:ext uri="{FF2B5EF4-FFF2-40B4-BE49-F238E27FC236}">
                  <a16:creationId xmlns:a16="http://schemas.microsoft.com/office/drawing/2014/main" xmlns="" id="{4E4B9125-B5A3-4804-BE69-046C5E5FC676}"/>
                </a:ext>
              </a:extLst>
            </p:cNvPr>
            <p:cNvSpPr/>
            <p:nvPr/>
          </p:nvSpPr>
          <p:spPr>
            <a:xfrm>
              <a:off x="1121818" y="4878081"/>
              <a:ext cx="3243072" cy="661720"/>
            </a:xfrm>
            <a:prstGeom prst="rect">
              <a:avLst/>
            </a:prstGeom>
          </p:spPr>
          <p:txBody>
            <a:bodyPr wrap="square">
              <a:spAutoFit/>
            </a:bodyPr>
            <a:lstStyle/>
            <a:p>
              <a:pPr>
                <a:spcAft>
                  <a:spcPts val="600"/>
                </a:spcAft>
              </a:pPr>
              <a:r>
                <a:rPr lang="de-DE" sz="1600" spc="300" dirty="0">
                  <a:solidFill>
                    <a:srgbClr val="572381"/>
                  </a:solidFill>
                  <a:latin typeface="Calibri" panose="020F0502020204030204" pitchFamily="34" charset="0"/>
                  <a:ea typeface="Calibri" panose="020F0502020204030204" pitchFamily="34" charset="0"/>
                  <a:cs typeface="Times New Roman" panose="02020603050405020304" pitchFamily="18" charset="0"/>
                </a:rPr>
                <a:t>Wichtig: </a:t>
              </a:r>
            </a:p>
            <a:p>
              <a:r>
                <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rPr>
                <a:t>Hinweise zur Rechnungsstellung beachten</a:t>
              </a:r>
              <a:endParaRPr lang="de-DE" sz="1600" dirty="0">
                <a:solidFill>
                  <a:srgbClr val="572381"/>
                </a:solidFill>
              </a:endParaRPr>
            </a:p>
          </p:txBody>
        </p:sp>
        <p:cxnSp>
          <p:nvCxnSpPr>
            <p:cNvPr id="58" name="Straight Connector 57">
              <a:extLst>
                <a:ext uri="{FF2B5EF4-FFF2-40B4-BE49-F238E27FC236}">
                  <a16:creationId xmlns:a16="http://schemas.microsoft.com/office/drawing/2014/main" xmlns="" id="{11882677-446C-40D3-BD68-BFF37E2C474E}"/>
                </a:ext>
              </a:extLst>
            </p:cNvPr>
            <p:cNvCxnSpPr>
              <a:cxnSpLocks/>
            </p:cNvCxnSpPr>
            <p:nvPr/>
          </p:nvCxnSpPr>
          <p:spPr>
            <a:xfrm>
              <a:off x="1121818" y="5191043"/>
              <a:ext cx="3205707" cy="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cxnSp>
        <p:nvCxnSpPr>
          <p:cNvPr id="67" name="Straight Connector 66">
            <a:extLst>
              <a:ext uri="{FF2B5EF4-FFF2-40B4-BE49-F238E27FC236}">
                <a16:creationId xmlns:a16="http://schemas.microsoft.com/office/drawing/2014/main" xmlns="" id="{B9AC96F7-E6A2-4953-B23E-62954DAA402A}"/>
              </a:ext>
            </a:extLst>
          </p:cNvPr>
          <p:cNvCxnSpPr>
            <a:cxnSpLocks/>
            <a:stCxn id="6" idx="3"/>
            <a:endCxn id="52" idx="1"/>
          </p:cNvCxnSpPr>
          <p:nvPr/>
        </p:nvCxnSpPr>
        <p:spPr>
          <a:xfrm>
            <a:off x="5130820" y="3561466"/>
            <a:ext cx="1693369" cy="1887122"/>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sp>
        <p:nvSpPr>
          <p:cNvPr id="36" name="Titel 2"/>
          <p:cNvSpPr txBox="1">
            <a:spLocks/>
          </p:cNvSpPr>
          <p:nvPr/>
        </p:nvSpPr>
        <p:spPr>
          <a:xfrm>
            <a:off x="928886" y="653069"/>
            <a:ext cx="9721080" cy="576064"/>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r>
              <a:rPr lang="de-DE" dirty="0"/>
              <a:t>Positiv: Für einen Großteil der Körperschaften der EKHN wird voraussichtlich die Kleinunternehmerregelung greifen</a:t>
            </a:r>
          </a:p>
        </p:txBody>
      </p:sp>
    </p:spTree>
    <p:extLst>
      <p:ext uri="{BB962C8B-B14F-4D97-AF65-F5344CB8AC3E}">
        <p14:creationId xmlns:p14="http://schemas.microsoft.com/office/powerpoint/2010/main" val="22136514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4439"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a:solidFill>
                    <a:srgbClr val="5D0B7A"/>
                  </a:solidFill>
                  <a:latin typeface="Calibri" panose="020F0502020204030204" pitchFamily="34" charset="0"/>
                  <a:cs typeface="Calibri" panose="020F0502020204030204" pitchFamily="34" charset="0"/>
                </a:rPr>
                <a:t>UNTERSTÜTZUNG FÜR KIRCHENGEMEINDEN UND DEKANATE</a:t>
              </a: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p:spPr>
          <p:txBody>
            <a:bodyPr wrap="square" lIns="0" tIns="0" rIns="0" bIns="0" rtlCol="0" anchor="ctr">
              <a:noAutofit/>
            </a:bodyPr>
            <a:lstStyle/>
            <a:p>
              <a:pPr algn="ctr">
                <a:lnSpc>
                  <a:spcPct val="100000"/>
                </a:lnSpc>
                <a:spcAft>
                  <a:spcPts val="600"/>
                </a:spcAft>
                <a:buSzPct val="100000"/>
              </a:pPr>
              <a:r>
                <a:rPr lang="de-DE" sz="2000" b="1" dirty="0">
                  <a:solidFill>
                    <a:schemeClr val="bg1"/>
                  </a:solidFill>
                  <a:latin typeface="Calibri" panose="020F0502020204030204" pitchFamily="34" charset="0"/>
                  <a:cs typeface="Calibri" panose="020F0502020204030204" pitchFamily="34" charset="0"/>
                </a:rPr>
                <a:t>3</a:t>
              </a:r>
            </a:p>
          </p:txBody>
        </p:sp>
      </p:grpSp>
      <p:sp>
        <p:nvSpPr>
          <p:cNvPr id="3" name="Slide Number Placeholder 2">
            <a:extLst>
              <a:ext uri="{FF2B5EF4-FFF2-40B4-BE49-F238E27FC236}">
                <a16:creationId xmlns:a16="http://schemas.microsoft.com/office/drawing/2014/main" xmlns="" id="{3146989A-26AC-4A5D-9C0F-7BD81016BAB5}"/>
              </a:ext>
            </a:extLst>
          </p:cNvPr>
          <p:cNvSpPr>
            <a:spLocks noGrp="1"/>
          </p:cNvSpPr>
          <p:nvPr>
            <p:ph type="sldNum" sz="quarter" idx="12"/>
          </p:nvPr>
        </p:nvSpPr>
        <p:spPr/>
        <p:txBody>
          <a:bodyPr/>
          <a:lstStyle/>
          <a:p>
            <a:fld id="{3A1CF32A-F356-4D00-AD16-DC450DAC6A33}" type="slidenum">
              <a:rPr lang="de-DE" smtClean="0"/>
              <a:pPr/>
              <a:t>16</a:t>
            </a:fld>
            <a:endParaRPr lang="de-DE" dirty="0"/>
          </a:p>
        </p:txBody>
      </p:sp>
      <p:sp>
        <p:nvSpPr>
          <p:cNvPr id="4" name="Date Placeholder 3">
            <a:extLst>
              <a:ext uri="{FF2B5EF4-FFF2-40B4-BE49-F238E27FC236}">
                <a16:creationId xmlns:a16="http://schemas.microsoft.com/office/drawing/2014/main" xmlns="" id="{52D518F5-8C04-4479-B528-88DC82F4BA6A}"/>
              </a:ext>
            </a:extLst>
          </p:cNvPr>
          <p:cNvSpPr>
            <a:spLocks noGrp="1"/>
          </p:cNvSpPr>
          <p:nvPr>
            <p:ph type="dt" sz="half" idx="10"/>
          </p:nvPr>
        </p:nvSpPr>
        <p:spPr/>
        <p:txBody>
          <a:bodyPr/>
          <a:lstStyle/>
          <a:p>
            <a:fld id="{7B0DB683-12EE-44C7-946A-54D181CD9A78}" type="datetime1">
              <a:rPr lang="de-DE" smtClean="0"/>
              <a:t>06.07.2021</a:t>
            </a:fld>
            <a:endParaRPr lang="de-DE" dirty="0"/>
          </a:p>
        </p:txBody>
      </p:sp>
      <p:sp>
        <p:nvSpPr>
          <p:cNvPr id="5" name="Footer Placeholder 4">
            <a:extLst>
              <a:ext uri="{FF2B5EF4-FFF2-40B4-BE49-F238E27FC236}">
                <a16:creationId xmlns:a16="http://schemas.microsoft.com/office/drawing/2014/main" xmlns="" id="{D4B914D9-14CD-447B-94C4-251C5B774F48}"/>
              </a:ext>
            </a:extLst>
          </p:cNvPr>
          <p:cNvSpPr>
            <a:spLocks noGrp="1"/>
          </p:cNvSpPr>
          <p:nvPr>
            <p:ph type="ftr" sz="quarter" idx="11"/>
          </p:nvPr>
        </p:nvSpPr>
        <p:spPr/>
        <p:txBody>
          <a:bodyPr/>
          <a:lstStyle/>
          <a:p>
            <a:r>
              <a:rPr lang="de-DE" dirty="0"/>
              <a:t>EKHN</a:t>
            </a:r>
          </a:p>
        </p:txBody>
      </p:sp>
    </p:spTree>
    <p:extLst>
      <p:ext uri="{BB962C8B-B14F-4D97-AF65-F5344CB8AC3E}">
        <p14:creationId xmlns:p14="http://schemas.microsoft.com/office/powerpoint/2010/main" val="7967391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5464"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UNTERSTÜTZUNG FÜR KIRCHENGEMEINDEN UND DEKANATE</a:t>
            </a:r>
          </a:p>
        </p:txBody>
      </p:sp>
      <p:sp>
        <p:nvSpPr>
          <p:cNvPr id="51" name="Date Placeholder 2">
            <a:extLst>
              <a:ext uri="{FF2B5EF4-FFF2-40B4-BE49-F238E27FC236}">
                <a16:creationId xmlns:a16="http://schemas.microsoft.com/office/drawing/2014/main" xmlns="" id="{521DB242-1222-4C86-8706-744EDAE1CC79}"/>
              </a:ext>
            </a:extLst>
          </p:cNvPr>
          <p:cNvSpPr>
            <a:spLocks noGrp="1"/>
          </p:cNvSpPr>
          <p:nvPr>
            <p:ph type="dt" sz="half" idx="10"/>
          </p:nvPr>
        </p:nvSpPr>
        <p:spPr/>
        <p:txBody>
          <a:bodyPr/>
          <a:lstStyle/>
          <a:p>
            <a:fld id="{B676386F-63AE-4B7A-954E-68D66367FC9A}" type="datetime1">
              <a:rPr lang="de-DE" smtClean="0"/>
              <a:t>06.07.2021</a:t>
            </a:fld>
            <a:endParaRPr lang="de-DE" dirty="0"/>
          </a:p>
        </p:txBody>
      </p:sp>
      <p:sp>
        <p:nvSpPr>
          <p:cNvPr id="6" name="Footer Placeholder 5">
            <a:extLst>
              <a:ext uri="{FF2B5EF4-FFF2-40B4-BE49-F238E27FC236}">
                <a16:creationId xmlns:a16="http://schemas.microsoft.com/office/drawing/2014/main" xmlns="" id="{DD353FCD-C6A6-42EC-B98E-8227748AF8CA}"/>
              </a:ext>
            </a:extLst>
          </p:cNvPr>
          <p:cNvSpPr>
            <a:spLocks noGrp="1"/>
          </p:cNvSpPr>
          <p:nvPr>
            <p:ph type="ftr" sz="quarter" idx="11"/>
          </p:nvPr>
        </p:nvSpPr>
        <p:spPr/>
        <p:txBody>
          <a:bodyPr/>
          <a:lstStyle/>
          <a:p>
            <a:r>
              <a:rPr lang="de-DE" dirty="0"/>
              <a:t>EKHN</a:t>
            </a:r>
          </a:p>
        </p:txBody>
      </p:sp>
      <p:sp>
        <p:nvSpPr>
          <p:cNvPr id="3" name="Foliennummernplatzhalter 2"/>
          <p:cNvSpPr>
            <a:spLocks noGrp="1"/>
          </p:cNvSpPr>
          <p:nvPr>
            <p:ph type="sldNum" sz="quarter" idx="12"/>
          </p:nvPr>
        </p:nvSpPr>
        <p:spPr/>
        <p:txBody>
          <a:bodyPr/>
          <a:lstStyle/>
          <a:p>
            <a:fld id="{1C198799-69ED-41F3-BD93-533E14B4A78A}" type="slidenum">
              <a:rPr lang="de-DE" smtClean="0"/>
              <a:pPr/>
              <a:t>17</a:t>
            </a:fld>
            <a:endParaRPr lang="de-DE"/>
          </a:p>
        </p:txBody>
      </p:sp>
      <p:grpSp>
        <p:nvGrpSpPr>
          <p:cNvPr id="43" name="Group 42">
            <a:extLst>
              <a:ext uri="{FF2B5EF4-FFF2-40B4-BE49-F238E27FC236}">
                <a16:creationId xmlns:a16="http://schemas.microsoft.com/office/drawing/2014/main" xmlns="" id="{64C0A00E-9B23-4EAF-94D3-3A454D361B74}"/>
              </a:ext>
            </a:extLst>
          </p:cNvPr>
          <p:cNvGrpSpPr/>
          <p:nvPr/>
        </p:nvGrpSpPr>
        <p:grpSpPr>
          <a:xfrm>
            <a:off x="1840873" y="1439507"/>
            <a:ext cx="3490851" cy="5288797"/>
            <a:chOff x="2107292" y="1704683"/>
            <a:chExt cx="3480880" cy="5288797"/>
          </a:xfrm>
        </p:grpSpPr>
        <p:pic>
          <p:nvPicPr>
            <p:cNvPr id="2" name="Picture 1">
              <a:extLst>
                <a:ext uri="{FF2B5EF4-FFF2-40B4-BE49-F238E27FC236}">
                  <a16:creationId xmlns:a16="http://schemas.microsoft.com/office/drawing/2014/main" xmlns="" id="{109A6680-F0D2-41DD-8F75-665F0BD54A07}"/>
                </a:ext>
              </a:extLst>
            </p:cNvPr>
            <p:cNvPicPr>
              <a:picLocks noChangeAspect="1"/>
            </p:cNvPicPr>
            <p:nvPr/>
          </p:nvPicPr>
          <p:blipFill>
            <a:blip r:embed="rId8"/>
            <a:stretch>
              <a:fillRect/>
            </a:stretch>
          </p:blipFill>
          <p:spPr>
            <a:xfrm>
              <a:off x="2589777" y="2916400"/>
              <a:ext cx="2515909" cy="3102577"/>
            </a:xfrm>
            <a:prstGeom prst="rect">
              <a:avLst/>
            </a:prstGeom>
          </p:spPr>
        </p:pic>
        <p:grpSp>
          <p:nvGrpSpPr>
            <p:cNvPr id="28" name="Group 27">
              <a:extLst>
                <a:ext uri="{FF2B5EF4-FFF2-40B4-BE49-F238E27FC236}">
                  <a16:creationId xmlns:a16="http://schemas.microsoft.com/office/drawing/2014/main" xmlns="" id="{B0C2C784-ACED-43F1-852C-0840016B68F1}"/>
                </a:ext>
              </a:extLst>
            </p:cNvPr>
            <p:cNvGrpSpPr/>
            <p:nvPr/>
          </p:nvGrpSpPr>
          <p:grpSpPr>
            <a:xfrm>
              <a:off x="2107292" y="1704683"/>
              <a:ext cx="3480880" cy="5288797"/>
              <a:chOff x="2128665" y="1638079"/>
              <a:chExt cx="7950200" cy="4333028"/>
            </a:xfrm>
          </p:grpSpPr>
          <p:sp>
            <p:nvSpPr>
              <p:cNvPr id="29" name="Content Placeholder 6">
                <a:extLst>
                  <a:ext uri="{FF2B5EF4-FFF2-40B4-BE49-F238E27FC236}">
                    <a16:creationId xmlns:a16="http://schemas.microsoft.com/office/drawing/2014/main" xmlns="" id="{4CB85682-499D-4D5C-B806-BA5F5B8239F0}"/>
                  </a:ext>
                </a:extLst>
              </p:cNvPr>
              <p:cNvSpPr txBox="1">
                <a:spLocks/>
              </p:cNvSpPr>
              <p:nvPr/>
            </p:nvSpPr>
            <p:spPr>
              <a:xfrm>
                <a:off x="2507297" y="1638079"/>
                <a:ext cx="7315105" cy="4333028"/>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endParaRPr lang="de-DE" sz="1600" dirty="0">
                  <a:solidFill>
                    <a:schemeClr val="tx1"/>
                  </a:solidFill>
                </a:endParaRPr>
              </a:p>
              <a:p>
                <a:endParaRPr lang="de-DE" sz="1600" dirty="0">
                  <a:solidFill>
                    <a:schemeClr val="tx1"/>
                  </a:solidFill>
                </a:endParaRPr>
              </a:p>
              <a:p>
                <a:endParaRPr lang="de-DE" dirty="0"/>
              </a:p>
            </p:txBody>
          </p:sp>
          <p:grpSp>
            <p:nvGrpSpPr>
              <p:cNvPr id="31" name="Group 30">
                <a:extLst>
                  <a:ext uri="{FF2B5EF4-FFF2-40B4-BE49-F238E27FC236}">
                    <a16:creationId xmlns:a16="http://schemas.microsoft.com/office/drawing/2014/main" xmlns="" id="{07DAFDA5-181F-4B46-B90B-96FD0EAC0AC0}"/>
                  </a:ext>
                </a:extLst>
              </p:cNvPr>
              <p:cNvGrpSpPr/>
              <p:nvPr/>
            </p:nvGrpSpPr>
            <p:grpSpPr>
              <a:xfrm>
                <a:off x="2128665" y="2190642"/>
                <a:ext cx="7950200" cy="3257434"/>
                <a:chOff x="1963820" y="1766227"/>
                <a:chExt cx="7950200" cy="3751084"/>
              </a:xfrm>
            </p:grpSpPr>
            <p:sp>
              <p:nvSpPr>
                <p:cNvPr id="35" name="Rectangle 34">
                  <a:extLst>
                    <a:ext uri="{FF2B5EF4-FFF2-40B4-BE49-F238E27FC236}">
                      <a16:creationId xmlns:a16="http://schemas.microsoft.com/office/drawing/2014/main" xmlns="" id="{B82B2193-FFD4-4A92-8E48-0E653C1BE791}"/>
                    </a:ext>
                  </a:extLst>
                </p:cNvPr>
                <p:cNvSpPr/>
                <p:nvPr/>
              </p:nvSpPr>
              <p:spPr>
                <a:xfrm>
                  <a:off x="1963820" y="2170095"/>
                  <a:ext cx="7950200" cy="334721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6" name="AutoShape 3">
                  <a:extLst>
                    <a:ext uri="{FF2B5EF4-FFF2-40B4-BE49-F238E27FC236}">
                      <a16:creationId xmlns:a16="http://schemas.microsoft.com/office/drawing/2014/main" xmlns="" id="{98F29E78-DB44-4729-A138-35D764DCD0EB}"/>
                    </a:ext>
                  </a:extLst>
                </p:cNvPr>
                <p:cNvSpPr>
                  <a:spLocks noChangeArrowheads="1"/>
                </p:cNvSpPr>
                <p:nvPr/>
              </p:nvSpPr>
              <p:spPr bwMode="auto">
                <a:xfrm>
                  <a:off x="2269024" y="1766227"/>
                  <a:ext cx="7339788" cy="406422"/>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b="1" dirty="0">
                      <a:solidFill>
                        <a:schemeClr val="bg1"/>
                      </a:solidFill>
                      <a:latin typeface="Calibri" panose="020F0502020204030204" pitchFamily="34" charset="0"/>
                      <a:cs typeface="Calibri" panose="020F0502020204030204" pitchFamily="34" charset="0"/>
                    </a:rPr>
                    <a:t>EKD-Steuerleitfaden</a:t>
                  </a:r>
                </a:p>
              </p:txBody>
            </p:sp>
          </p:grpSp>
        </p:grpSp>
      </p:grpSp>
      <p:grpSp>
        <p:nvGrpSpPr>
          <p:cNvPr id="49" name="Group 48">
            <a:extLst>
              <a:ext uri="{FF2B5EF4-FFF2-40B4-BE49-F238E27FC236}">
                <a16:creationId xmlns:a16="http://schemas.microsoft.com/office/drawing/2014/main" xmlns="" id="{FF00E305-3729-4051-BB83-E18539224006}"/>
              </a:ext>
            </a:extLst>
          </p:cNvPr>
          <p:cNvGrpSpPr/>
          <p:nvPr/>
        </p:nvGrpSpPr>
        <p:grpSpPr>
          <a:xfrm>
            <a:off x="6728947" y="1439507"/>
            <a:ext cx="3490851" cy="5288797"/>
            <a:chOff x="6438049" y="1439507"/>
            <a:chExt cx="3480880" cy="5288797"/>
          </a:xfrm>
        </p:grpSpPr>
        <p:grpSp>
          <p:nvGrpSpPr>
            <p:cNvPr id="38" name="Group 37">
              <a:extLst>
                <a:ext uri="{FF2B5EF4-FFF2-40B4-BE49-F238E27FC236}">
                  <a16:creationId xmlns:a16="http://schemas.microsoft.com/office/drawing/2014/main" xmlns="" id="{7993C556-E1F5-41FF-8FE9-8F77F8C46A26}"/>
                </a:ext>
              </a:extLst>
            </p:cNvPr>
            <p:cNvGrpSpPr/>
            <p:nvPr/>
          </p:nvGrpSpPr>
          <p:grpSpPr>
            <a:xfrm>
              <a:off x="6438049" y="1439507"/>
              <a:ext cx="3480880" cy="5288797"/>
              <a:chOff x="2128665" y="1638079"/>
              <a:chExt cx="7950200" cy="4333028"/>
            </a:xfrm>
          </p:grpSpPr>
          <p:sp>
            <p:nvSpPr>
              <p:cNvPr id="39" name="Content Placeholder 6">
                <a:extLst>
                  <a:ext uri="{FF2B5EF4-FFF2-40B4-BE49-F238E27FC236}">
                    <a16:creationId xmlns:a16="http://schemas.microsoft.com/office/drawing/2014/main" xmlns="" id="{8A233D98-C0A5-40F0-B896-57136DFCC5B9}"/>
                  </a:ext>
                </a:extLst>
              </p:cNvPr>
              <p:cNvSpPr txBox="1">
                <a:spLocks/>
              </p:cNvSpPr>
              <p:nvPr/>
            </p:nvSpPr>
            <p:spPr>
              <a:xfrm>
                <a:off x="2507297" y="1638079"/>
                <a:ext cx="7315105" cy="4333028"/>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endParaRPr lang="de-DE" sz="1600" dirty="0">
                  <a:solidFill>
                    <a:schemeClr val="tx1"/>
                  </a:solidFill>
                </a:endParaRPr>
              </a:p>
              <a:p>
                <a:endParaRPr lang="de-DE" sz="1600" dirty="0">
                  <a:solidFill>
                    <a:schemeClr val="tx1"/>
                  </a:solidFill>
                </a:endParaRPr>
              </a:p>
              <a:p>
                <a:endParaRPr lang="de-DE" dirty="0"/>
              </a:p>
            </p:txBody>
          </p:sp>
          <p:grpSp>
            <p:nvGrpSpPr>
              <p:cNvPr id="40" name="Group 39">
                <a:extLst>
                  <a:ext uri="{FF2B5EF4-FFF2-40B4-BE49-F238E27FC236}">
                    <a16:creationId xmlns:a16="http://schemas.microsoft.com/office/drawing/2014/main" xmlns="" id="{607240F6-9826-46A0-A840-7E325A11A6EE}"/>
                  </a:ext>
                </a:extLst>
              </p:cNvPr>
              <p:cNvGrpSpPr/>
              <p:nvPr/>
            </p:nvGrpSpPr>
            <p:grpSpPr>
              <a:xfrm>
                <a:off x="2128665" y="2190642"/>
                <a:ext cx="7950200" cy="3257434"/>
                <a:chOff x="1963820" y="1766227"/>
                <a:chExt cx="7950200" cy="3751084"/>
              </a:xfrm>
            </p:grpSpPr>
            <p:sp>
              <p:nvSpPr>
                <p:cNvPr id="41" name="Rectangle 40">
                  <a:extLst>
                    <a:ext uri="{FF2B5EF4-FFF2-40B4-BE49-F238E27FC236}">
                      <a16:creationId xmlns:a16="http://schemas.microsoft.com/office/drawing/2014/main" xmlns="" id="{AB121A21-704D-4102-9A6B-35493D47F531}"/>
                    </a:ext>
                  </a:extLst>
                </p:cNvPr>
                <p:cNvSpPr/>
                <p:nvPr/>
              </p:nvSpPr>
              <p:spPr>
                <a:xfrm>
                  <a:off x="1963820" y="2170095"/>
                  <a:ext cx="7950200" cy="334721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42" name="AutoShape 3">
                  <a:extLst>
                    <a:ext uri="{FF2B5EF4-FFF2-40B4-BE49-F238E27FC236}">
                      <a16:creationId xmlns:a16="http://schemas.microsoft.com/office/drawing/2014/main" xmlns="" id="{83A9A622-6434-446D-983E-2D1765DE02B1}"/>
                    </a:ext>
                  </a:extLst>
                </p:cNvPr>
                <p:cNvSpPr>
                  <a:spLocks noChangeArrowheads="1"/>
                </p:cNvSpPr>
                <p:nvPr/>
              </p:nvSpPr>
              <p:spPr bwMode="auto">
                <a:xfrm>
                  <a:off x="2269026" y="1766227"/>
                  <a:ext cx="7339788" cy="406422"/>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b="1" dirty="0">
                      <a:solidFill>
                        <a:schemeClr val="bg1"/>
                      </a:solidFill>
                      <a:latin typeface="Calibri" panose="020F0502020204030204" pitchFamily="34" charset="0"/>
                      <a:cs typeface="Calibri" panose="020F0502020204030204" pitchFamily="34" charset="0"/>
                    </a:rPr>
                    <a:t>EKHN-Steuerleitfaden </a:t>
                  </a:r>
                </a:p>
              </p:txBody>
            </p:sp>
          </p:grpSp>
        </p:grpSp>
        <p:sp>
          <p:nvSpPr>
            <p:cNvPr id="45" name="Rectangle 44">
              <a:extLst>
                <a:ext uri="{FF2B5EF4-FFF2-40B4-BE49-F238E27FC236}">
                  <a16:creationId xmlns:a16="http://schemas.microsoft.com/office/drawing/2014/main" xmlns="" id="{37F84E91-A1BE-4305-B542-FCE87E786A4C}"/>
                </a:ext>
              </a:extLst>
            </p:cNvPr>
            <p:cNvSpPr/>
            <p:nvPr/>
          </p:nvSpPr>
          <p:spPr>
            <a:xfrm>
              <a:off x="6550337" y="2861743"/>
              <a:ext cx="3315631" cy="3785652"/>
            </a:xfrm>
            <a:prstGeom prst="rect">
              <a:avLst/>
            </a:prstGeom>
          </p:spPr>
          <p:txBody>
            <a:bodyPr wrap="square">
              <a:spAutoFit/>
            </a:bodyPr>
            <a:lstStyle/>
            <a:p>
              <a:pPr marL="285750" indent="-285750">
                <a:spcAft>
                  <a:spcPts val="1200"/>
                </a:spcAft>
                <a:buFont typeface="Arial" panose="020B0604020202020204" pitchFamily="34" charset="0"/>
                <a:buChar char="•"/>
              </a:pPr>
              <a:r>
                <a:rPr lang="de-DE" sz="1600" dirty="0">
                  <a:solidFill>
                    <a:srgbClr val="572381"/>
                  </a:solidFill>
                </a:rPr>
                <a:t>Unterstützt bei der Identifikation steuerlich relevanter Umsätze</a:t>
              </a:r>
            </a:p>
            <a:p>
              <a:pPr marL="285750" indent="-285750">
                <a:spcAft>
                  <a:spcPts val="1200"/>
                </a:spcAft>
                <a:buFont typeface="Arial" panose="020B0604020202020204" pitchFamily="34" charset="0"/>
                <a:buChar char="•"/>
              </a:pPr>
              <a:r>
                <a:rPr lang="de-DE" sz="1600" dirty="0">
                  <a:solidFill>
                    <a:srgbClr val="572381"/>
                  </a:solidFill>
                </a:rPr>
                <a:t>Gibt die einheitliche Bewertung standardisierter Leistungen vor</a:t>
              </a:r>
            </a:p>
            <a:p>
              <a:pPr marL="285750" indent="-285750">
                <a:spcAft>
                  <a:spcPts val="1200"/>
                </a:spcAft>
                <a:buFont typeface="Arial" panose="020B0604020202020204" pitchFamily="34" charset="0"/>
                <a:buChar char="•"/>
              </a:pPr>
              <a:r>
                <a:rPr lang="de-DE" sz="1600" dirty="0">
                  <a:solidFill>
                    <a:srgbClr val="572381"/>
                  </a:solidFill>
                </a:rPr>
                <a:t>Umfasst rechtlich nicht abschließend bewertbare Konstellationen - hier wird eine (für die Regionalverwaltungen) verbindliche Festlegung getroffen</a:t>
              </a:r>
            </a:p>
            <a:p>
              <a:pPr marL="285750" indent="-285750">
                <a:spcAft>
                  <a:spcPts val="1200"/>
                </a:spcAft>
                <a:buFont typeface="Arial" panose="020B0604020202020204" pitchFamily="34" charset="0"/>
                <a:buChar char="•"/>
              </a:pPr>
              <a:endParaRPr lang="de-DE" sz="1600" dirty="0">
                <a:solidFill>
                  <a:schemeClr val="tx1">
                    <a:lumMod val="75000"/>
                    <a:lumOff val="25000"/>
                  </a:schemeClr>
                </a:solidFill>
              </a:endParaRPr>
            </a:p>
            <a:p>
              <a:pPr>
                <a:spcAft>
                  <a:spcPts val="0"/>
                </a:spcAft>
              </a:pPr>
              <a:r>
                <a:rPr lang="de-DE" sz="1600" dirty="0">
                  <a:solidFill>
                    <a:schemeClr val="tx1">
                      <a:lumMod val="75000"/>
                      <a:lumOff val="25000"/>
                    </a:schemeClr>
                  </a:solidFill>
                </a:rPr>
                <a:t>       </a:t>
              </a:r>
            </a:p>
            <a:p>
              <a:pPr marL="285750" indent="-285750">
                <a:spcAft>
                  <a:spcPts val="0"/>
                </a:spcAft>
                <a:buFont typeface="Arial" panose="020B0604020202020204" pitchFamily="34" charset="0"/>
                <a:buChar char="•"/>
              </a:pPr>
              <a:endParaRPr lang="de-DE" dirty="0">
                <a:solidFill>
                  <a:schemeClr val="tx1">
                    <a:lumMod val="75000"/>
                    <a:lumOff val="25000"/>
                  </a:schemeClr>
                </a:solidFill>
              </a:endParaRPr>
            </a:p>
          </p:txBody>
        </p:sp>
      </p:grpSp>
      <p:sp>
        <p:nvSpPr>
          <p:cNvPr id="50" name="Slide Number Placeholder 8">
            <a:extLst>
              <a:ext uri="{FF2B5EF4-FFF2-40B4-BE49-F238E27FC236}">
                <a16:creationId xmlns:a16="http://schemas.microsoft.com/office/drawing/2014/main" xmlns="" id="{68B78345-595F-4BEC-99CC-3704A28D2CE4}"/>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
        <p:nvSpPr>
          <p:cNvPr id="26" name="TextBox 25">
            <a:extLst>
              <a:ext uri="{FF2B5EF4-FFF2-40B4-BE49-F238E27FC236}">
                <a16:creationId xmlns:a16="http://schemas.microsoft.com/office/drawing/2014/main" xmlns="" id="{28D1175B-7D0B-4527-9B64-B00D861780D9}"/>
              </a:ext>
            </a:extLst>
          </p:cNvPr>
          <p:cNvSpPr txBox="1"/>
          <p:nvPr/>
        </p:nvSpPr>
        <p:spPr>
          <a:xfrm>
            <a:off x="2181632" y="5568862"/>
            <a:ext cx="2816652" cy="446276"/>
          </a:xfrm>
          <a:prstGeom prst="rect">
            <a:avLst/>
          </a:prstGeom>
          <a:noFill/>
        </p:spPr>
        <p:txBody>
          <a:bodyPr wrap="square" lIns="0" tIns="0" rIns="0" bIns="0" rtlCol="0">
            <a:spAutoFit/>
          </a:bodyPr>
          <a:lstStyle/>
          <a:p>
            <a:pPr>
              <a:lnSpc>
                <a:spcPct val="100000"/>
              </a:lnSpc>
              <a:spcAft>
                <a:spcPts val="600"/>
              </a:spcAft>
              <a:buSzPct val="100000"/>
            </a:pPr>
            <a:endParaRPr lang="de-DE" sz="1200" dirty="0">
              <a:solidFill>
                <a:schemeClr val="tx1">
                  <a:lumMod val="75000"/>
                  <a:lumOff val="25000"/>
                </a:schemeClr>
              </a:solidFill>
            </a:endParaRPr>
          </a:p>
          <a:p>
            <a:pPr>
              <a:lnSpc>
                <a:spcPct val="100000"/>
              </a:lnSpc>
              <a:spcAft>
                <a:spcPts val="600"/>
              </a:spcAft>
              <a:buSzPct val="100000"/>
            </a:pPr>
            <a:r>
              <a:rPr lang="de-DE" sz="1200" dirty="0">
                <a:solidFill>
                  <a:schemeClr val="tx1">
                    <a:lumMod val="75000"/>
                    <a:lumOff val="25000"/>
                  </a:schemeClr>
                </a:solidFill>
              </a:rPr>
              <a:t>Download: unsere.ekhn.de/umsatzsteuer</a:t>
            </a:r>
          </a:p>
        </p:txBody>
      </p:sp>
      <p:sp>
        <p:nvSpPr>
          <p:cNvPr id="23" name="Titel 2"/>
          <p:cNvSpPr txBox="1">
            <a:spLocks/>
          </p:cNvSpPr>
          <p:nvPr/>
        </p:nvSpPr>
        <p:spPr>
          <a:xfrm>
            <a:off x="842978" y="606994"/>
            <a:ext cx="9189882" cy="464429"/>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spcAft>
                <a:spcPts val="600"/>
              </a:spcAft>
            </a:pPr>
            <a:r>
              <a:rPr lang="de-DE" dirty="0"/>
              <a:t>Steuerleitfäden bieten Ihnen Orientierung beim Umgang mit relevanten Umsätzen</a:t>
            </a:r>
          </a:p>
        </p:txBody>
      </p:sp>
    </p:spTree>
    <p:extLst>
      <p:ext uri="{BB962C8B-B14F-4D97-AF65-F5344CB8AC3E}">
        <p14:creationId xmlns:p14="http://schemas.microsoft.com/office/powerpoint/2010/main" val="32903221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8537"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UNTERSTÜTZUNG FÜR KIRCHENGEMEINDEN UND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EKANATE</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endParaRPr lang="de-DE"/>
          </a:p>
        </p:txBody>
      </p:sp>
      <p:sp>
        <p:nvSpPr>
          <p:cNvPr id="6" name="Textplatzhalter 5"/>
          <p:cNvSpPr>
            <a:spLocks noGrp="1"/>
          </p:cNvSpPr>
          <p:nvPr>
            <p:ph type="body" idx="1"/>
          </p:nvPr>
        </p:nvSpPr>
        <p:spPr/>
        <p:txBody>
          <a:bodyPr/>
          <a:lstStyle/>
          <a:p>
            <a:endParaRPr lang="de-DE"/>
          </a:p>
        </p:txBody>
      </p:sp>
      <p:sp>
        <p:nvSpPr>
          <p:cNvPr id="38" name="Footer Placeholder 37">
            <a:extLst>
              <a:ext uri="{FF2B5EF4-FFF2-40B4-BE49-F238E27FC236}">
                <a16:creationId xmlns:a16="http://schemas.microsoft.com/office/drawing/2014/main" xmlns="" id="{8B086465-9D2C-4065-BA11-C04E0BC6A662}"/>
              </a:ext>
            </a:extLst>
          </p:cNvPr>
          <p:cNvSpPr>
            <a:spLocks noGrp="1"/>
          </p:cNvSpPr>
          <p:nvPr>
            <p:ph type="ftr" sz="quarter" idx="11"/>
          </p:nvPr>
        </p:nvSpPr>
        <p:spPr/>
        <p:txBody>
          <a:bodyPr/>
          <a:lstStyle/>
          <a:p>
            <a:r>
              <a:rPr lang="de-DE" smtClean="0"/>
              <a:t>EKHN</a:t>
            </a:r>
            <a:endParaRPr lang="de-DE" dirty="0"/>
          </a:p>
        </p:txBody>
      </p:sp>
      <p:grpSp>
        <p:nvGrpSpPr>
          <p:cNvPr id="44" name="Group 43">
            <a:extLst>
              <a:ext uri="{FF2B5EF4-FFF2-40B4-BE49-F238E27FC236}">
                <a16:creationId xmlns:a16="http://schemas.microsoft.com/office/drawing/2014/main" xmlns="" id="{D02A6D42-86E8-4780-9857-C06B9BB542A1}"/>
              </a:ext>
            </a:extLst>
          </p:cNvPr>
          <p:cNvGrpSpPr/>
          <p:nvPr/>
        </p:nvGrpSpPr>
        <p:grpSpPr>
          <a:xfrm>
            <a:off x="0" y="1754374"/>
            <a:ext cx="12226925" cy="4463547"/>
            <a:chOff x="0" y="1754372"/>
            <a:chExt cx="12192000" cy="4463547"/>
          </a:xfrm>
        </p:grpSpPr>
        <p:sp>
          <p:nvSpPr>
            <p:cNvPr id="43" name="Rechteck 9">
              <a:extLst>
                <a:ext uri="{FF2B5EF4-FFF2-40B4-BE49-F238E27FC236}">
                  <a16:creationId xmlns:a16="http://schemas.microsoft.com/office/drawing/2014/main" xmlns="" id="{9A649FA6-56CD-46D4-9B03-13095D59F86F}"/>
                </a:ext>
              </a:extLst>
            </p:cNvPr>
            <p:cNvSpPr/>
            <p:nvPr/>
          </p:nvSpPr>
          <p:spPr>
            <a:xfrm>
              <a:off x="0" y="1754372"/>
              <a:ext cx="12192000" cy="4463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0" rIns="864000" rtlCol="0" anchor="ctr"/>
            <a:lstStyle/>
            <a:p>
              <a:pPr marL="285750" indent="-285750" defTabSz="801688">
                <a:spcAft>
                  <a:spcPts val="1200"/>
                </a:spcAft>
                <a:buFont typeface="Arial" panose="020B0604020202020204" pitchFamily="34" charset="0"/>
                <a:buChar char="•"/>
              </a:pPr>
              <a:r>
                <a:rPr lang="de-DE" sz="1800" b="1" dirty="0">
                  <a:solidFill>
                    <a:srgbClr val="572381"/>
                  </a:solidFill>
                </a:rPr>
                <a:t>Einnahmen ausschließlich </a:t>
              </a:r>
              <a:r>
                <a:rPr lang="de-DE" sz="1800" dirty="0">
                  <a:solidFill>
                    <a:srgbClr val="572381"/>
                  </a:solidFill>
                </a:rPr>
                <a:t>über den </a:t>
              </a:r>
              <a:r>
                <a:rPr lang="de-DE" sz="1800" b="1" dirty="0">
                  <a:solidFill>
                    <a:srgbClr val="572381"/>
                  </a:solidFill>
                </a:rPr>
                <a:t>ordentlichen Haushalt und Konten </a:t>
              </a:r>
              <a:r>
                <a:rPr lang="de-DE" sz="1800" dirty="0">
                  <a:solidFill>
                    <a:srgbClr val="572381"/>
                  </a:solidFill>
                </a:rPr>
                <a:t>der Körperschaften/RVs</a:t>
              </a:r>
            </a:p>
            <a:p>
              <a:pPr marL="285750" indent="-285750" defTabSz="801688">
                <a:spcAft>
                  <a:spcPts val="1200"/>
                </a:spcAft>
                <a:buFont typeface="Arial" panose="020B0604020202020204" pitchFamily="34" charset="0"/>
                <a:buChar char="•"/>
              </a:pPr>
              <a:r>
                <a:rPr lang="de-DE" sz="1800" b="1" dirty="0">
                  <a:solidFill>
                    <a:srgbClr val="572381"/>
                  </a:solidFill>
                </a:rPr>
                <a:t>Nicht genehmigte Konten </a:t>
              </a:r>
              <a:r>
                <a:rPr lang="de-DE" sz="1800" dirty="0">
                  <a:solidFill>
                    <a:srgbClr val="572381"/>
                  </a:solidFill>
                </a:rPr>
                <a:t>müssen abgewickelt werden</a:t>
              </a:r>
            </a:p>
            <a:p>
              <a:pPr marL="285750" indent="-285750" defTabSz="801688">
                <a:spcAft>
                  <a:spcPts val="1200"/>
                </a:spcAft>
                <a:buFont typeface="Arial" panose="020B0604020202020204" pitchFamily="34" charset="0"/>
                <a:buChar char="•"/>
              </a:pPr>
              <a:r>
                <a:rPr lang="de-DE" sz="1800" b="1" dirty="0">
                  <a:solidFill>
                    <a:srgbClr val="572381"/>
                  </a:solidFill>
                </a:rPr>
                <a:t>Nur Kollekten </a:t>
              </a:r>
              <a:r>
                <a:rPr lang="de-DE" sz="1800" dirty="0">
                  <a:solidFill>
                    <a:srgbClr val="572381"/>
                  </a:solidFill>
                </a:rPr>
                <a:t>dürfen in die </a:t>
              </a:r>
              <a:r>
                <a:rPr lang="de-DE" sz="1800" dirty="0" err="1">
                  <a:solidFill>
                    <a:srgbClr val="572381"/>
                  </a:solidFill>
                </a:rPr>
                <a:t>Kollektenkassen</a:t>
              </a:r>
              <a:r>
                <a:rPr lang="de-DE" sz="1800" dirty="0">
                  <a:solidFill>
                    <a:srgbClr val="572381"/>
                  </a:solidFill>
                </a:rPr>
                <a:t> </a:t>
              </a:r>
            </a:p>
            <a:p>
              <a:pPr marL="285750" indent="-285750" defTabSz="801688">
                <a:spcAft>
                  <a:spcPts val="1200"/>
                </a:spcAft>
                <a:buFont typeface="Arial" panose="020B0604020202020204" pitchFamily="34" charset="0"/>
                <a:buChar char="•"/>
              </a:pPr>
              <a:r>
                <a:rPr lang="de-DE" sz="1800" b="1" dirty="0">
                  <a:solidFill>
                    <a:srgbClr val="572381"/>
                  </a:solidFill>
                </a:rPr>
                <a:t>Keine</a:t>
              </a:r>
              <a:r>
                <a:rPr lang="de-DE" sz="1800" dirty="0">
                  <a:solidFill>
                    <a:srgbClr val="572381"/>
                  </a:solidFill>
                </a:rPr>
                <a:t> kirchlichen Umsätze über </a:t>
              </a:r>
              <a:r>
                <a:rPr lang="de-DE" sz="1800" b="1" dirty="0">
                  <a:solidFill>
                    <a:srgbClr val="572381"/>
                  </a:solidFill>
                </a:rPr>
                <a:t>Konten von Privatpersonen</a:t>
              </a:r>
            </a:p>
            <a:p>
              <a:pPr marL="285750" indent="-285750" defTabSz="801688">
                <a:spcAft>
                  <a:spcPts val="1200"/>
                </a:spcAft>
                <a:buFont typeface="Arial" panose="020B0604020202020204" pitchFamily="34" charset="0"/>
                <a:buChar char="•"/>
              </a:pPr>
              <a:r>
                <a:rPr lang="de-DE" sz="1800" dirty="0">
                  <a:solidFill>
                    <a:srgbClr val="572381"/>
                  </a:solidFill>
                </a:rPr>
                <a:t>Informationen an Ihre Regionalverwaltungen über Einnahmen und Ausgaben (brutto!) </a:t>
              </a:r>
              <a:r>
                <a:rPr lang="de-DE" sz="1800" b="1" dirty="0">
                  <a:solidFill>
                    <a:srgbClr val="572381"/>
                  </a:solidFill>
                </a:rPr>
                <a:t>korrekt, vollständig und zeitnah</a:t>
              </a:r>
            </a:p>
            <a:p>
              <a:pPr marL="285750" indent="-285750" defTabSz="801688">
                <a:spcAft>
                  <a:spcPts val="1200"/>
                </a:spcAft>
                <a:buFont typeface="Arial" panose="020B0604020202020204" pitchFamily="34" charset="0"/>
                <a:buChar char="•"/>
              </a:pPr>
              <a:r>
                <a:rPr lang="de-DE" sz="1800" dirty="0">
                  <a:solidFill>
                    <a:srgbClr val="572381"/>
                  </a:solidFill>
                </a:rPr>
                <a:t>Klärung des Verhältnisses zu </a:t>
              </a:r>
              <a:r>
                <a:rPr lang="de-DE" sz="1800" b="1" dirty="0">
                  <a:solidFill>
                    <a:srgbClr val="572381"/>
                  </a:solidFill>
                </a:rPr>
                <a:t>evtl. selbständigen Personen und Gruppierungen </a:t>
              </a:r>
              <a:r>
                <a:rPr lang="de-DE" sz="1800" dirty="0">
                  <a:solidFill>
                    <a:srgbClr val="572381"/>
                  </a:solidFill>
                </a:rPr>
                <a:t>(Posaunenwerke, Chöre etc.), die eigene Konten nutzen und evtl. der Kirchengemeinde Erlösanteile z. T. als vermeintliche Spenden abgeben. Entsprechenden Einnahmen tauchen somit nicht in der Finanzbuchhaltung und z. T. nicht einmal in der kirchengemeindlichen </a:t>
              </a:r>
              <a:r>
                <a:rPr lang="de-DE" sz="1800" dirty="0" err="1">
                  <a:solidFill>
                    <a:srgbClr val="572381"/>
                  </a:solidFill>
                </a:rPr>
                <a:t>Kollektenbuchführung</a:t>
              </a:r>
              <a:r>
                <a:rPr lang="de-DE" sz="1800" dirty="0">
                  <a:solidFill>
                    <a:srgbClr val="572381"/>
                  </a:solidFill>
                </a:rPr>
                <a:t> auf – dies ist rechtlich unzulässig!</a:t>
              </a:r>
            </a:p>
          </p:txBody>
        </p:sp>
        <p:grpSp>
          <p:nvGrpSpPr>
            <p:cNvPr id="3" name="Group 2">
              <a:extLst>
                <a:ext uri="{FF2B5EF4-FFF2-40B4-BE49-F238E27FC236}">
                  <a16:creationId xmlns:a16="http://schemas.microsoft.com/office/drawing/2014/main" xmlns="" id="{86185DCD-E1AF-4FA1-B341-73565E9A60F5}"/>
                </a:ext>
              </a:extLst>
            </p:cNvPr>
            <p:cNvGrpSpPr/>
            <p:nvPr/>
          </p:nvGrpSpPr>
          <p:grpSpPr>
            <a:xfrm>
              <a:off x="0" y="1878133"/>
              <a:ext cx="1804373" cy="4237297"/>
              <a:chOff x="1197885" y="1210035"/>
              <a:chExt cx="1804373" cy="4237297"/>
            </a:xfr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p:grpSpPr>
          <p:sp>
            <p:nvSpPr>
              <p:cNvPr id="39" name="Freeform 13">
                <a:extLst>
                  <a:ext uri="{FF2B5EF4-FFF2-40B4-BE49-F238E27FC236}">
                    <a16:creationId xmlns:a16="http://schemas.microsoft.com/office/drawing/2014/main" xmlns="" id="{11CB64C8-4FF8-40AD-A5FD-C4CCE43FB012}"/>
                  </a:ext>
                </a:extLst>
              </p:cNvPr>
              <p:cNvSpPr>
                <a:spLocks noEditPoints="1"/>
              </p:cNvSpPr>
              <p:nvPr/>
            </p:nvSpPr>
            <p:spPr bwMode="auto">
              <a:xfrm>
                <a:off x="1197885" y="3673477"/>
                <a:ext cx="1804373" cy="1773855"/>
              </a:xfrm>
              <a:custGeom>
                <a:avLst/>
                <a:gdLst>
                  <a:gd name="T0" fmla="*/ 683 w 723"/>
                  <a:gd name="T1" fmla="*/ 341 h 721"/>
                  <a:gd name="T2" fmla="*/ 695 w 723"/>
                  <a:gd name="T3" fmla="*/ 281 h 721"/>
                  <a:gd name="T4" fmla="*/ 696 w 723"/>
                  <a:gd name="T5" fmla="*/ 223 h 721"/>
                  <a:gd name="T6" fmla="*/ 674 w 723"/>
                  <a:gd name="T7" fmla="*/ 176 h 721"/>
                  <a:gd name="T8" fmla="*/ 624 w 723"/>
                  <a:gd name="T9" fmla="*/ 142 h 721"/>
                  <a:gd name="T10" fmla="*/ 570 w 723"/>
                  <a:gd name="T11" fmla="*/ 116 h 721"/>
                  <a:gd name="T12" fmla="*/ 539 w 723"/>
                  <a:gd name="T13" fmla="*/ 93 h 721"/>
                  <a:gd name="T14" fmla="*/ 500 w 723"/>
                  <a:gd name="T15" fmla="*/ 48 h 721"/>
                  <a:gd name="T16" fmla="*/ 454 w 723"/>
                  <a:gd name="T17" fmla="*/ 10 h 721"/>
                  <a:gd name="T18" fmla="*/ 403 w 723"/>
                  <a:gd name="T19" fmla="*/ 1 h 721"/>
                  <a:gd name="T20" fmla="*/ 346 w 723"/>
                  <a:gd name="T21" fmla="*/ 19 h 721"/>
                  <a:gd name="T22" fmla="*/ 292 w 723"/>
                  <a:gd name="T23" fmla="*/ 46 h 721"/>
                  <a:gd name="T24" fmla="*/ 255 w 723"/>
                  <a:gd name="T25" fmla="*/ 57 h 721"/>
                  <a:gd name="T26" fmla="*/ 195 w 723"/>
                  <a:gd name="T27" fmla="*/ 61 h 721"/>
                  <a:gd name="T28" fmla="*/ 138 w 723"/>
                  <a:gd name="T29" fmla="*/ 76 h 721"/>
                  <a:gd name="T30" fmla="*/ 99 w 723"/>
                  <a:gd name="T31" fmla="*/ 110 h 721"/>
                  <a:gd name="T32" fmla="*/ 80 w 723"/>
                  <a:gd name="T33" fmla="*/ 167 h 721"/>
                  <a:gd name="T34" fmla="*/ 69 w 723"/>
                  <a:gd name="T35" fmla="*/ 226 h 721"/>
                  <a:gd name="T36" fmla="*/ 56 w 723"/>
                  <a:gd name="T37" fmla="*/ 263 h 721"/>
                  <a:gd name="T38" fmla="*/ 23 w 723"/>
                  <a:gd name="T39" fmla="*/ 313 h 721"/>
                  <a:gd name="T40" fmla="*/ 0 w 723"/>
                  <a:gd name="T41" fmla="*/ 368 h 721"/>
                  <a:gd name="T42" fmla="*/ 5 w 723"/>
                  <a:gd name="T43" fmla="*/ 419 h 721"/>
                  <a:gd name="T44" fmla="*/ 38 w 723"/>
                  <a:gd name="T45" fmla="*/ 468 h 721"/>
                  <a:gd name="T46" fmla="*/ 78 w 723"/>
                  <a:gd name="T47" fmla="*/ 513 h 721"/>
                  <a:gd name="T48" fmla="*/ 99 w 723"/>
                  <a:gd name="T49" fmla="*/ 546 h 721"/>
                  <a:gd name="T50" fmla="*/ 120 w 723"/>
                  <a:gd name="T51" fmla="*/ 601 h 721"/>
                  <a:gd name="T52" fmla="*/ 150 w 723"/>
                  <a:gd name="T53" fmla="*/ 654 h 721"/>
                  <a:gd name="T54" fmla="*/ 193 w 723"/>
                  <a:gd name="T55" fmla="*/ 681 h 721"/>
                  <a:gd name="T56" fmla="*/ 253 w 723"/>
                  <a:gd name="T57" fmla="*/ 684 h 721"/>
                  <a:gd name="T58" fmla="*/ 313 w 723"/>
                  <a:gd name="T59" fmla="*/ 678 h 721"/>
                  <a:gd name="T60" fmla="*/ 352 w 723"/>
                  <a:gd name="T61" fmla="*/ 682 h 721"/>
                  <a:gd name="T62" fmla="*/ 409 w 723"/>
                  <a:gd name="T63" fmla="*/ 699 h 721"/>
                  <a:gd name="T64" fmla="*/ 467 w 723"/>
                  <a:gd name="T65" fmla="*/ 706 h 721"/>
                  <a:gd name="T66" fmla="*/ 517 w 723"/>
                  <a:gd name="T67" fmla="*/ 687 h 721"/>
                  <a:gd name="T68" fmla="*/ 554 w 723"/>
                  <a:gd name="T69" fmla="*/ 642 h 721"/>
                  <a:gd name="T70" fmla="*/ 585 w 723"/>
                  <a:gd name="T71" fmla="*/ 591 h 721"/>
                  <a:gd name="T72" fmla="*/ 612 w 723"/>
                  <a:gd name="T73" fmla="*/ 562 h 721"/>
                  <a:gd name="T74" fmla="*/ 660 w 723"/>
                  <a:gd name="T75" fmla="*/ 527 h 721"/>
                  <a:gd name="T76" fmla="*/ 702 w 723"/>
                  <a:gd name="T77" fmla="*/ 483 h 721"/>
                  <a:gd name="T78" fmla="*/ 716 w 723"/>
                  <a:gd name="T79" fmla="*/ 434 h 721"/>
                  <a:gd name="T80" fmla="*/ 702 w 723"/>
                  <a:gd name="T81" fmla="*/ 375 h 721"/>
                  <a:gd name="T82" fmla="*/ 611 w 723"/>
                  <a:gd name="T83" fmla="*/ 450 h 721"/>
                  <a:gd name="T84" fmla="*/ 539 w 723"/>
                  <a:gd name="T85" fmla="*/ 556 h 721"/>
                  <a:gd name="T86" fmla="*/ 428 w 723"/>
                  <a:gd name="T87" fmla="*/ 616 h 721"/>
                  <a:gd name="T88" fmla="*/ 321 w 723"/>
                  <a:gd name="T89" fmla="*/ 622 h 721"/>
                  <a:gd name="T90" fmla="*/ 204 w 723"/>
                  <a:gd name="T91" fmla="*/ 571 h 721"/>
                  <a:gd name="T92" fmla="*/ 123 w 723"/>
                  <a:gd name="T93" fmla="*/ 474 h 721"/>
                  <a:gd name="T94" fmla="*/ 98 w 723"/>
                  <a:gd name="T95" fmla="*/ 360 h 721"/>
                  <a:gd name="T96" fmla="*/ 123 w 723"/>
                  <a:gd name="T97" fmla="*/ 245 h 721"/>
                  <a:gd name="T98" fmla="*/ 204 w 723"/>
                  <a:gd name="T99" fmla="*/ 148 h 721"/>
                  <a:gd name="T100" fmla="*/ 321 w 723"/>
                  <a:gd name="T101" fmla="*/ 99 h 721"/>
                  <a:gd name="T102" fmla="*/ 428 w 723"/>
                  <a:gd name="T103" fmla="*/ 104 h 721"/>
                  <a:gd name="T104" fmla="*/ 539 w 723"/>
                  <a:gd name="T105" fmla="*/ 164 h 721"/>
                  <a:gd name="T106" fmla="*/ 611 w 723"/>
                  <a:gd name="T107" fmla="*/ 269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3" h="721">
                    <a:moveTo>
                      <a:pt x="702" y="375"/>
                    </a:moveTo>
                    <a:lnTo>
                      <a:pt x="723" y="368"/>
                    </a:lnTo>
                    <a:lnTo>
                      <a:pt x="723" y="353"/>
                    </a:lnTo>
                    <a:lnTo>
                      <a:pt x="702" y="344"/>
                    </a:lnTo>
                    <a:lnTo>
                      <a:pt x="683" y="341"/>
                    </a:lnTo>
                    <a:lnTo>
                      <a:pt x="681" y="320"/>
                    </a:lnTo>
                    <a:lnTo>
                      <a:pt x="701" y="313"/>
                    </a:lnTo>
                    <a:lnTo>
                      <a:pt x="719" y="301"/>
                    </a:lnTo>
                    <a:lnTo>
                      <a:pt x="716" y="286"/>
                    </a:lnTo>
                    <a:lnTo>
                      <a:pt x="695" y="281"/>
                    </a:lnTo>
                    <a:lnTo>
                      <a:pt x="674" y="281"/>
                    </a:lnTo>
                    <a:lnTo>
                      <a:pt x="668" y="263"/>
                    </a:lnTo>
                    <a:lnTo>
                      <a:pt x="686" y="251"/>
                    </a:lnTo>
                    <a:lnTo>
                      <a:pt x="702" y="236"/>
                    </a:lnTo>
                    <a:lnTo>
                      <a:pt x="696" y="223"/>
                    </a:lnTo>
                    <a:lnTo>
                      <a:pt x="674" y="223"/>
                    </a:lnTo>
                    <a:lnTo>
                      <a:pt x="654" y="226"/>
                    </a:lnTo>
                    <a:lnTo>
                      <a:pt x="645" y="208"/>
                    </a:lnTo>
                    <a:lnTo>
                      <a:pt x="660" y="194"/>
                    </a:lnTo>
                    <a:lnTo>
                      <a:pt x="674" y="176"/>
                    </a:lnTo>
                    <a:lnTo>
                      <a:pt x="665" y="163"/>
                    </a:lnTo>
                    <a:lnTo>
                      <a:pt x="644" y="167"/>
                    </a:lnTo>
                    <a:lnTo>
                      <a:pt x="624" y="175"/>
                    </a:lnTo>
                    <a:lnTo>
                      <a:pt x="612" y="158"/>
                    </a:lnTo>
                    <a:lnTo>
                      <a:pt x="624" y="142"/>
                    </a:lnTo>
                    <a:lnTo>
                      <a:pt x="633" y="122"/>
                    </a:lnTo>
                    <a:lnTo>
                      <a:pt x="624" y="110"/>
                    </a:lnTo>
                    <a:lnTo>
                      <a:pt x="603" y="118"/>
                    </a:lnTo>
                    <a:lnTo>
                      <a:pt x="585" y="130"/>
                    </a:lnTo>
                    <a:lnTo>
                      <a:pt x="570" y="116"/>
                    </a:lnTo>
                    <a:lnTo>
                      <a:pt x="579" y="97"/>
                    </a:lnTo>
                    <a:lnTo>
                      <a:pt x="585" y="76"/>
                    </a:lnTo>
                    <a:lnTo>
                      <a:pt x="573" y="67"/>
                    </a:lnTo>
                    <a:lnTo>
                      <a:pt x="554" y="78"/>
                    </a:lnTo>
                    <a:lnTo>
                      <a:pt x="539" y="93"/>
                    </a:lnTo>
                    <a:lnTo>
                      <a:pt x="523" y="82"/>
                    </a:lnTo>
                    <a:lnTo>
                      <a:pt x="529" y="61"/>
                    </a:lnTo>
                    <a:lnTo>
                      <a:pt x="530" y="40"/>
                    </a:lnTo>
                    <a:lnTo>
                      <a:pt x="517" y="33"/>
                    </a:lnTo>
                    <a:lnTo>
                      <a:pt x="500" y="48"/>
                    </a:lnTo>
                    <a:lnTo>
                      <a:pt x="487" y="64"/>
                    </a:lnTo>
                    <a:lnTo>
                      <a:pt x="469" y="57"/>
                    </a:lnTo>
                    <a:lnTo>
                      <a:pt x="470" y="36"/>
                    </a:lnTo>
                    <a:lnTo>
                      <a:pt x="467" y="15"/>
                    </a:lnTo>
                    <a:lnTo>
                      <a:pt x="454" y="10"/>
                    </a:lnTo>
                    <a:lnTo>
                      <a:pt x="440" y="28"/>
                    </a:lnTo>
                    <a:lnTo>
                      <a:pt x="431" y="46"/>
                    </a:lnTo>
                    <a:lnTo>
                      <a:pt x="410" y="42"/>
                    </a:lnTo>
                    <a:lnTo>
                      <a:pt x="409" y="22"/>
                    </a:lnTo>
                    <a:lnTo>
                      <a:pt x="403" y="1"/>
                    </a:lnTo>
                    <a:lnTo>
                      <a:pt x="388" y="0"/>
                    </a:lnTo>
                    <a:lnTo>
                      <a:pt x="377" y="19"/>
                    </a:lnTo>
                    <a:lnTo>
                      <a:pt x="371" y="39"/>
                    </a:lnTo>
                    <a:lnTo>
                      <a:pt x="352" y="39"/>
                    </a:lnTo>
                    <a:lnTo>
                      <a:pt x="346" y="19"/>
                    </a:lnTo>
                    <a:lnTo>
                      <a:pt x="335" y="0"/>
                    </a:lnTo>
                    <a:lnTo>
                      <a:pt x="321" y="1"/>
                    </a:lnTo>
                    <a:lnTo>
                      <a:pt x="315" y="22"/>
                    </a:lnTo>
                    <a:lnTo>
                      <a:pt x="313" y="42"/>
                    </a:lnTo>
                    <a:lnTo>
                      <a:pt x="292" y="46"/>
                    </a:lnTo>
                    <a:lnTo>
                      <a:pt x="283" y="28"/>
                    </a:lnTo>
                    <a:lnTo>
                      <a:pt x="270" y="10"/>
                    </a:lnTo>
                    <a:lnTo>
                      <a:pt x="255" y="15"/>
                    </a:lnTo>
                    <a:lnTo>
                      <a:pt x="253" y="36"/>
                    </a:lnTo>
                    <a:lnTo>
                      <a:pt x="255" y="57"/>
                    </a:lnTo>
                    <a:lnTo>
                      <a:pt x="237" y="64"/>
                    </a:lnTo>
                    <a:lnTo>
                      <a:pt x="223" y="48"/>
                    </a:lnTo>
                    <a:lnTo>
                      <a:pt x="207" y="33"/>
                    </a:lnTo>
                    <a:lnTo>
                      <a:pt x="193" y="40"/>
                    </a:lnTo>
                    <a:lnTo>
                      <a:pt x="195" y="61"/>
                    </a:lnTo>
                    <a:lnTo>
                      <a:pt x="201" y="82"/>
                    </a:lnTo>
                    <a:lnTo>
                      <a:pt x="184" y="93"/>
                    </a:lnTo>
                    <a:lnTo>
                      <a:pt x="168" y="78"/>
                    </a:lnTo>
                    <a:lnTo>
                      <a:pt x="150" y="67"/>
                    </a:lnTo>
                    <a:lnTo>
                      <a:pt x="138" y="76"/>
                    </a:lnTo>
                    <a:lnTo>
                      <a:pt x="144" y="97"/>
                    </a:lnTo>
                    <a:lnTo>
                      <a:pt x="153" y="116"/>
                    </a:lnTo>
                    <a:lnTo>
                      <a:pt x="138" y="130"/>
                    </a:lnTo>
                    <a:lnTo>
                      <a:pt x="120" y="118"/>
                    </a:lnTo>
                    <a:lnTo>
                      <a:pt x="99" y="110"/>
                    </a:lnTo>
                    <a:lnTo>
                      <a:pt x="89" y="122"/>
                    </a:lnTo>
                    <a:lnTo>
                      <a:pt x="99" y="142"/>
                    </a:lnTo>
                    <a:lnTo>
                      <a:pt x="111" y="158"/>
                    </a:lnTo>
                    <a:lnTo>
                      <a:pt x="99" y="175"/>
                    </a:lnTo>
                    <a:lnTo>
                      <a:pt x="80" y="167"/>
                    </a:lnTo>
                    <a:lnTo>
                      <a:pt x="57" y="163"/>
                    </a:lnTo>
                    <a:lnTo>
                      <a:pt x="50" y="176"/>
                    </a:lnTo>
                    <a:lnTo>
                      <a:pt x="63" y="194"/>
                    </a:lnTo>
                    <a:lnTo>
                      <a:pt x="78" y="208"/>
                    </a:lnTo>
                    <a:lnTo>
                      <a:pt x="69" y="226"/>
                    </a:lnTo>
                    <a:lnTo>
                      <a:pt x="48" y="223"/>
                    </a:lnTo>
                    <a:lnTo>
                      <a:pt x="27" y="223"/>
                    </a:lnTo>
                    <a:lnTo>
                      <a:pt x="21" y="236"/>
                    </a:lnTo>
                    <a:lnTo>
                      <a:pt x="38" y="251"/>
                    </a:lnTo>
                    <a:lnTo>
                      <a:pt x="56" y="263"/>
                    </a:lnTo>
                    <a:lnTo>
                      <a:pt x="50" y="281"/>
                    </a:lnTo>
                    <a:lnTo>
                      <a:pt x="29" y="281"/>
                    </a:lnTo>
                    <a:lnTo>
                      <a:pt x="8" y="286"/>
                    </a:lnTo>
                    <a:lnTo>
                      <a:pt x="5" y="301"/>
                    </a:lnTo>
                    <a:lnTo>
                      <a:pt x="23" y="313"/>
                    </a:lnTo>
                    <a:lnTo>
                      <a:pt x="42" y="320"/>
                    </a:lnTo>
                    <a:lnTo>
                      <a:pt x="41" y="341"/>
                    </a:lnTo>
                    <a:lnTo>
                      <a:pt x="20" y="344"/>
                    </a:lnTo>
                    <a:lnTo>
                      <a:pt x="0" y="353"/>
                    </a:lnTo>
                    <a:lnTo>
                      <a:pt x="0" y="368"/>
                    </a:lnTo>
                    <a:lnTo>
                      <a:pt x="20" y="375"/>
                    </a:lnTo>
                    <a:lnTo>
                      <a:pt x="41" y="380"/>
                    </a:lnTo>
                    <a:lnTo>
                      <a:pt x="42" y="399"/>
                    </a:lnTo>
                    <a:lnTo>
                      <a:pt x="23" y="407"/>
                    </a:lnTo>
                    <a:lnTo>
                      <a:pt x="5" y="419"/>
                    </a:lnTo>
                    <a:lnTo>
                      <a:pt x="8" y="434"/>
                    </a:lnTo>
                    <a:lnTo>
                      <a:pt x="29" y="438"/>
                    </a:lnTo>
                    <a:lnTo>
                      <a:pt x="50" y="438"/>
                    </a:lnTo>
                    <a:lnTo>
                      <a:pt x="56" y="458"/>
                    </a:lnTo>
                    <a:lnTo>
                      <a:pt x="38" y="468"/>
                    </a:lnTo>
                    <a:lnTo>
                      <a:pt x="21" y="483"/>
                    </a:lnTo>
                    <a:lnTo>
                      <a:pt x="27" y="498"/>
                    </a:lnTo>
                    <a:lnTo>
                      <a:pt x="48" y="498"/>
                    </a:lnTo>
                    <a:lnTo>
                      <a:pt x="69" y="495"/>
                    </a:lnTo>
                    <a:lnTo>
                      <a:pt x="78" y="513"/>
                    </a:lnTo>
                    <a:lnTo>
                      <a:pt x="63" y="527"/>
                    </a:lnTo>
                    <a:lnTo>
                      <a:pt x="50" y="545"/>
                    </a:lnTo>
                    <a:lnTo>
                      <a:pt x="57" y="556"/>
                    </a:lnTo>
                    <a:lnTo>
                      <a:pt x="80" y="553"/>
                    </a:lnTo>
                    <a:lnTo>
                      <a:pt x="99" y="546"/>
                    </a:lnTo>
                    <a:lnTo>
                      <a:pt x="111" y="562"/>
                    </a:lnTo>
                    <a:lnTo>
                      <a:pt x="99" y="579"/>
                    </a:lnTo>
                    <a:lnTo>
                      <a:pt x="89" y="598"/>
                    </a:lnTo>
                    <a:lnTo>
                      <a:pt x="99" y="609"/>
                    </a:lnTo>
                    <a:lnTo>
                      <a:pt x="120" y="601"/>
                    </a:lnTo>
                    <a:lnTo>
                      <a:pt x="138" y="591"/>
                    </a:lnTo>
                    <a:lnTo>
                      <a:pt x="153" y="604"/>
                    </a:lnTo>
                    <a:lnTo>
                      <a:pt x="144" y="622"/>
                    </a:lnTo>
                    <a:lnTo>
                      <a:pt x="138" y="645"/>
                    </a:lnTo>
                    <a:lnTo>
                      <a:pt x="150" y="654"/>
                    </a:lnTo>
                    <a:lnTo>
                      <a:pt x="168" y="642"/>
                    </a:lnTo>
                    <a:lnTo>
                      <a:pt x="184" y="628"/>
                    </a:lnTo>
                    <a:lnTo>
                      <a:pt x="201" y="639"/>
                    </a:lnTo>
                    <a:lnTo>
                      <a:pt x="195" y="658"/>
                    </a:lnTo>
                    <a:lnTo>
                      <a:pt x="193" y="681"/>
                    </a:lnTo>
                    <a:lnTo>
                      <a:pt x="207" y="687"/>
                    </a:lnTo>
                    <a:lnTo>
                      <a:pt x="223" y="673"/>
                    </a:lnTo>
                    <a:lnTo>
                      <a:pt x="237" y="657"/>
                    </a:lnTo>
                    <a:lnTo>
                      <a:pt x="255" y="664"/>
                    </a:lnTo>
                    <a:lnTo>
                      <a:pt x="253" y="684"/>
                    </a:lnTo>
                    <a:lnTo>
                      <a:pt x="255" y="706"/>
                    </a:lnTo>
                    <a:lnTo>
                      <a:pt x="270" y="711"/>
                    </a:lnTo>
                    <a:lnTo>
                      <a:pt x="283" y="693"/>
                    </a:lnTo>
                    <a:lnTo>
                      <a:pt x="292" y="675"/>
                    </a:lnTo>
                    <a:lnTo>
                      <a:pt x="313" y="678"/>
                    </a:lnTo>
                    <a:lnTo>
                      <a:pt x="315" y="699"/>
                    </a:lnTo>
                    <a:lnTo>
                      <a:pt x="321" y="720"/>
                    </a:lnTo>
                    <a:lnTo>
                      <a:pt x="335" y="721"/>
                    </a:lnTo>
                    <a:lnTo>
                      <a:pt x="346" y="702"/>
                    </a:lnTo>
                    <a:lnTo>
                      <a:pt x="352" y="682"/>
                    </a:lnTo>
                    <a:lnTo>
                      <a:pt x="371" y="682"/>
                    </a:lnTo>
                    <a:lnTo>
                      <a:pt x="377" y="702"/>
                    </a:lnTo>
                    <a:lnTo>
                      <a:pt x="388" y="721"/>
                    </a:lnTo>
                    <a:lnTo>
                      <a:pt x="403" y="720"/>
                    </a:lnTo>
                    <a:lnTo>
                      <a:pt x="409" y="699"/>
                    </a:lnTo>
                    <a:lnTo>
                      <a:pt x="410" y="678"/>
                    </a:lnTo>
                    <a:lnTo>
                      <a:pt x="431" y="675"/>
                    </a:lnTo>
                    <a:lnTo>
                      <a:pt x="440" y="693"/>
                    </a:lnTo>
                    <a:lnTo>
                      <a:pt x="454" y="711"/>
                    </a:lnTo>
                    <a:lnTo>
                      <a:pt x="467" y="706"/>
                    </a:lnTo>
                    <a:lnTo>
                      <a:pt x="470" y="684"/>
                    </a:lnTo>
                    <a:lnTo>
                      <a:pt x="469" y="664"/>
                    </a:lnTo>
                    <a:lnTo>
                      <a:pt x="487" y="657"/>
                    </a:lnTo>
                    <a:lnTo>
                      <a:pt x="500" y="673"/>
                    </a:lnTo>
                    <a:lnTo>
                      <a:pt x="517" y="687"/>
                    </a:lnTo>
                    <a:lnTo>
                      <a:pt x="530" y="681"/>
                    </a:lnTo>
                    <a:lnTo>
                      <a:pt x="529" y="658"/>
                    </a:lnTo>
                    <a:lnTo>
                      <a:pt x="523" y="639"/>
                    </a:lnTo>
                    <a:lnTo>
                      <a:pt x="539" y="628"/>
                    </a:lnTo>
                    <a:lnTo>
                      <a:pt x="554" y="642"/>
                    </a:lnTo>
                    <a:lnTo>
                      <a:pt x="573" y="654"/>
                    </a:lnTo>
                    <a:lnTo>
                      <a:pt x="585" y="645"/>
                    </a:lnTo>
                    <a:lnTo>
                      <a:pt x="579" y="622"/>
                    </a:lnTo>
                    <a:lnTo>
                      <a:pt x="570" y="604"/>
                    </a:lnTo>
                    <a:lnTo>
                      <a:pt x="585" y="591"/>
                    </a:lnTo>
                    <a:lnTo>
                      <a:pt x="603" y="601"/>
                    </a:lnTo>
                    <a:lnTo>
                      <a:pt x="624" y="609"/>
                    </a:lnTo>
                    <a:lnTo>
                      <a:pt x="633" y="598"/>
                    </a:lnTo>
                    <a:lnTo>
                      <a:pt x="624" y="579"/>
                    </a:lnTo>
                    <a:lnTo>
                      <a:pt x="612" y="562"/>
                    </a:lnTo>
                    <a:lnTo>
                      <a:pt x="624" y="546"/>
                    </a:lnTo>
                    <a:lnTo>
                      <a:pt x="644" y="553"/>
                    </a:lnTo>
                    <a:lnTo>
                      <a:pt x="665" y="556"/>
                    </a:lnTo>
                    <a:lnTo>
                      <a:pt x="674" y="545"/>
                    </a:lnTo>
                    <a:lnTo>
                      <a:pt x="660" y="527"/>
                    </a:lnTo>
                    <a:lnTo>
                      <a:pt x="645" y="513"/>
                    </a:lnTo>
                    <a:lnTo>
                      <a:pt x="654" y="495"/>
                    </a:lnTo>
                    <a:lnTo>
                      <a:pt x="674" y="498"/>
                    </a:lnTo>
                    <a:lnTo>
                      <a:pt x="696" y="498"/>
                    </a:lnTo>
                    <a:lnTo>
                      <a:pt x="702" y="483"/>
                    </a:lnTo>
                    <a:lnTo>
                      <a:pt x="686" y="468"/>
                    </a:lnTo>
                    <a:lnTo>
                      <a:pt x="668" y="458"/>
                    </a:lnTo>
                    <a:lnTo>
                      <a:pt x="674" y="438"/>
                    </a:lnTo>
                    <a:lnTo>
                      <a:pt x="695" y="438"/>
                    </a:lnTo>
                    <a:lnTo>
                      <a:pt x="716" y="434"/>
                    </a:lnTo>
                    <a:lnTo>
                      <a:pt x="719" y="419"/>
                    </a:lnTo>
                    <a:lnTo>
                      <a:pt x="701" y="407"/>
                    </a:lnTo>
                    <a:lnTo>
                      <a:pt x="681" y="399"/>
                    </a:lnTo>
                    <a:lnTo>
                      <a:pt x="683" y="380"/>
                    </a:lnTo>
                    <a:lnTo>
                      <a:pt x="702" y="375"/>
                    </a:lnTo>
                    <a:close/>
                    <a:moveTo>
                      <a:pt x="626" y="360"/>
                    </a:moveTo>
                    <a:lnTo>
                      <a:pt x="626" y="374"/>
                    </a:lnTo>
                    <a:lnTo>
                      <a:pt x="623" y="401"/>
                    </a:lnTo>
                    <a:lnTo>
                      <a:pt x="618" y="426"/>
                    </a:lnTo>
                    <a:lnTo>
                      <a:pt x="611" y="450"/>
                    </a:lnTo>
                    <a:lnTo>
                      <a:pt x="600" y="474"/>
                    </a:lnTo>
                    <a:lnTo>
                      <a:pt x="588" y="497"/>
                    </a:lnTo>
                    <a:lnTo>
                      <a:pt x="573" y="518"/>
                    </a:lnTo>
                    <a:lnTo>
                      <a:pt x="557" y="539"/>
                    </a:lnTo>
                    <a:lnTo>
                      <a:pt x="539" y="556"/>
                    </a:lnTo>
                    <a:lnTo>
                      <a:pt x="520" y="571"/>
                    </a:lnTo>
                    <a:lnTo>
                      <a:pt x="499" y="586"/>
                    </a:lnTo>
                    <a:lnTo>
                      <a:pt x="476" y="598"/>
                    </a:lnTo>
                    <a:lnTo>
                      <a:pt x="452" y="609"/>
                    </a:lnTo>
                    <a:lnTo>
                      <a:pt x="428" y="616"/>
                    </a:lnTo>
                    <a:lnTo>
                      <a:pt x="401" y="622"/>
                    </a:lnTo>
                    <a:lnTo>
                      <a:pt x="374" y="624"/>
                    </a:lnTo>
                    <a:lnTo>
                      <a:pt x="361" y="624"/>
                    </a:lnTo>
                    <a:lnTo>
                      <a:pt x="347" y="624"/>
                    </a:lnTo>
                    <a:lnTo>
                      <a:pt x="321" y="622"/>
                    </a:lnTo>
                    <a:lnTo>
                      <a:pt x="295" y="616"/>
                    </a:lnTo>
                    <a:lnTo>
                      <a:pt x="271" y="609"/>
                    </a:lnTo>
                    <a:lnTo>
                      <a:pt x="247" y="598"/>
                    </a:lnTo>
                    <a:lnTo>
                      <a:pt x="225" y="586"/>
                    </a:lnTo>
                    <a:lnTo>
                      <a:pt x="204" y="571"/>
                    </a:lnTo>
                    <a:lnTo>
                      <a:pt x="184" y="556"/>
                    </a:lnTo>
                    <a:lnTo>
                      <a:pt x="166" y="539"/>
                    </a:lnTo>
                    <a:lnTo>
                      <a:pt x="150" y="518"/>
                    </a:lnTo>
                    <a:lnTo>
                      <a:pt x="135" y="497"/>
                    </a:lnTo>
                    <a:lnTo>
                      <a:pt x="123" y="474"/>
                    </a:lnTo>
                    <a:lnTo>
                      <a:pt x="113" y="450"/>
                    </a:lnTo>
                    <a:lnTo>
                      <a:pt x="105" y="426"/>
                    </a:lnTo>
                    <a:lnTo>
                      <a:pt x="101" y="401"/>
                    </a:lnTo>
                    <a:lnTo>
                      <a:pt x="98" y="374"/>
                    </a:lnTo>
                    <a:lnTo>
                      <a:pt x="98" y="360"/>
                    </a:lnTo>
                    <a:lnTo>
                      <a:pt x="98" y="347"/>
                    </a:lnTo>
                    <a:lnTo>
                      <a:pt x="101" y="320"/>
                    </a:lnTo>
                    <a:lnTo>
                      <a:pt x="105" y="295"/>
                    </a:lnTo>
                    <a:lnTo>
                      <a:pt x="113" y="269"/>
                    </a:lnTo>
                    <a:lnTo>
                      <a:pt x="123" y="245"/>
                    </a:lnTo>
                    <a:lnTo>
                      <a:pt x="135" y="223"/>
                    </a:lnTo>
                    <a:lnTo>
                      <a:pt x="150" y="202"/>
                    </a:lnTo>
                    <a:lnTo>
                      <a:pt x="166" y="182"/>
                    </a:lnTo>
                    <a:lnTo>
                      <a:pt x="184" y="164"/>
                    </a:lnTo>
                    <a:lnTo>
                      <a:pt x="204" y="148"/>
                    </a:lnTo>
                    <a:lnTo>
                      <a:pt x="225" y="134"/>
                    </a:lnTo>
                    <a:lnTo>
                      <a:pt x="247" y="122"/>
                    </a:lnTo>
                    <a:lnTo>
                      <a:pt x="271" y="112"/>
                    </a:lnTo>
                    <a:lnTo>
                      <a:pt x="295" y="104"/>
                    </a:lnTo>
                    <a:lnTo>
                      <a:pt x="321" y="99"/>
                    </a:lnTo>
                    <a:lnTo>
                      <a:pt x="347" y="96"/>
                    </a:lnTo>
                    <a:lnTo>
                      <a:pt x="361" y="96"/>
                    </a:lnTo>
                    <a:lnTo>
                      <a:pt x="374" y="96"/>
                    </a:lnTo>
                    <a:lnTo>
                      <a:pt x="401" y="99"/>
                    </a:lnTo>
                    <a:lnTo>
                      <a:pt x="428" y="104"/>
                    </a:lnTo>
                    <a:lnTo>
                      <a:pt x="452" y="112"/>
                    </a:lnTo>
                    <a:lnTo>
                      <a:pt x="476" y="122"/>
                    </a:lnTo>
                    <a:lnTo>
                      <a:pt x="499" y="134"/>
                    </a:lnTo>
                    <a:lnTo>
                      <a:pt x="520" y="148"/>
                    </a:lnTo>
                    <a:lnTo>
                      <a:pt x="539" y="164"/>
                    </a:lnTo>
                    <a:lnTo>
                      <a:pt x="557" y="182"/>
                    </a:lnTo>
                    <a:lnTo>
                      <a:pt x="573" y="202"/>
                    </a:lnTo>
                    <a:lnTo>
                      <a:pt x="588" y="223"/>
                    </a:lnTo>
                    <a:lnTo>
                      <a:pt x="600" y="245"/>
                    </a:lnTo>
                    <a:lnTo>
                      <a:pt x="611" y="269"/>
                    </a:lnTo>
                    <a:lnTo>
                      <a:pt x="618" y="295"/>
                    </a:lnTo>
                    <a:lnTo>
                      <a:pt x="623" y="320"/>
                    </a:lnTo>
                    <a:lnTo>
                      <a:pt x="626" y="347"/>
                    </a:lnTo>
                    <a:lnTo>
                      <a:pt x="626" y="360"/>
                    </a:lnTo>
                    <a:close/>
                  </a:path>
                </a:pathLst>
              </a:custGeom>
              <a:grpFill/>
              <a:ln>
                <a:noFill/>
              </a:ln>
            </p:spPr>
            <p:txBody>
              <a:bodyPr vert="horz" wrap="square" lIns="91440" tIns="45720" rIns="91440" bIns="45720" numCol="1" anchor="t" anchorCtr="0" compatLnSpc="1">
                <a:prstTxWarp prst="textNoShape">
                  <a:avLst/>
                </a:prstTxWarp>
              </a:bodyPr>
              <a:lstStyle/>
              <a:p>
                <a:endParaRPr lang="de-DE" dirty="0"/>
              </a:p>
            </p:txBody>
          </p:sp>
          <p:sp>
            <p:nvSpPr>
              <p:cNvPr id="41" name="Freeform 6">
                <a:extLst>
                  <a:ext uri="{FF2B5EF4-FFF2-40B4-BE49-F238E27FC236}">
                    <a16:creationId xmlns:a16="http://schemas.microsoft.com/office/drawing/2014/main" xmlns="" id="{21031824-D4C0-4952-A15A-115CA47D66DA}"/>
                  </a:ext>
                </a:extLst>
              </p:cNvPr>
              <p:cNvSpPr>
                <a:spLocks noEditPoints="1"/>
              </p:cNvSpPr>
              <p:nvPr/>
            </p:nvSpPr>
            <p:spPr bwMode="auto">
              <a:xfrm>
                <a:off x="1259897" y="1210035"/>
                <a:ext cx="1294849" cy="1265847"/>
              </a:xfrm>
              <a:custGeom>
                <a:avLst/>
                <a:gdLst>
                  <a:gd name="T0" fmla="*/ 323 w 660"/>
                  <a:gd name="T1" fmla="*/ 53 h 692"/>
                  <a:gd name="T2" fmla="*/ 260 w 660"/>
                  <a:gd name="T3" fmla="*/ 9 h 692"/>
                  <a:gd name="T4" fmla="*/ 203 w 660"/>
                  <a:gd name="T5" fmla="*/ 51 h 692"/>
                  <a:gd name="T6" fmla="*/ 151 w 660"/>
                  <a:gd name="T7" fmla="*/ 108 h 692"/>
                  <a:gd name="T8" fmla="*/ 67 w 660"/>
                  <a:gd name="T9" fmla="*/ 131 h 692"/>
                  <a:gd name="T10" fmla="*/ 82 w 660"/>
                  <a:gd name="T11" fmla="*/ 210 h 692"/>
                  <a:gd name="T12" fmla="*/ 13 w 660"/>
                  <a:gd name="T13" fmla="*/ 238 h 692"/>
                  <a:gd name="T14" fmla="*/ 34 w 660"/>
                  <a:gd name="T15" fmla="*/ 316 h 692"/>
                  <a:gd name="T16" fmla="*/ 42 w 660"/>
                  <a:gd name="T17" fmla="*/ 397 h 692"/>
                  <a:gd name="T18" fmla="*/ 24 w 660"/>
                  <a:gd name="T19" fmla="*/ 448 h 692"/>
                  <a:gd name="T20" fmla="*/ 76 w 660"/>
                  <a:gd name="T21" fmla="*/ 475 h 692"/>
                  <a:gd name="T22" fmla="*/ 68 w 660"/>
                  <a:gd name="T23" fmla="*/ 553 h 692"/>
                  <a:gd name="T24" fmla="*/ 116 w 660"/>
                  <a:gd name="T25" fmla="*/ 592 h 692"/>
                  <a:gd name="T26" fmla="*/ 167 w 660"/>
                  <a:gd name="T27" fmla="*/ 583 h 692"/>
                  <a:gd name="T28" fmla="*/ 208 w 660"/>
                  <a:gd name="T29" fmla="*/ 652 h 692"/>
                  <a:gd name="T30" fmla="*/ 264 w 660"/>
                  <a:gd name="T31" fmla="*/ 673 h 692"/>
                  <a:gd name="T32" fmla="*/ 333 w 660"/>
                  <a:gd name="T33" fmla="*/ 641 h 692"/>
                  <a:gd name="T34" fmla="*/ 414 w 660"/>
                  <a:gd name="T35" fmla="*/ 683 h 692"/>
                  <a:gd name="T36" fmla="*/ 449 w 660"/>
                  <a:gd name="T37" fmla="*/ 610 h 692"/>
                  <a:gd name="T38" fmla="*/ 498 w 660"/>
                  <a:gd name="T39" fmla="*/ 601 h 692"/>
                  <a:gd name="T40" fmla="*/ 561 w 660"/>
                  <a:gd name="T41" fmla="*/ 598 h 692"/>
                  <a:gd name="T42" fmla="*/ 559 w 660"/>
                  <a:gd name="T43" fmla="*/ 517 h 692"/>
                  <a:gd name="T44" fmla="*/ 604 w 660"/>
                  <a:gd name="T45" fmla="*/ 473 h 692"/>
                  <a:gd name="T46" fmla="*/ 652 w 660"/>
                  <a:gd name="T47" fmla="*/ 435 h 692"/>
                  <a:gd name="T48" fmla="*/ 610 w 660"/>
                  <a:gd name="T49" fmla="*/ 367 h 692"/>
                  <a:gd name="T50" fmla="*/ 655 w 660"/>
                  <a:gd name="T51" fmla="*/ 301 h 692"/>
                  <a:gd name="T52" fmla="*/ 610 w 660"/>
                  <a:gd name="T53" fmla="*/ 217 h 692"/>
                  <a:gd name="T54" fmla="*/ 553 w 660"/>
                  <a:gd name="T55" fmla="*/ 161 h 692"/>
                  <a:gd name="T56" fmla="*/ 532 w 660"/>
                  <a:gd name="T57" fmla="*/ 69 h 692"/>
                  <a:gd name="T58" fmla="*/ 458 w 660"/>
                  <a:gd name="T59" fmla="*/ 83 h 692"/>
                  <a:gd name="T60" fmla="*/ 431 w 660"/>
                  <a:gd name="T61" fmla="*/ 14 h 692"/>
                  <a:gd name="T62" fmla="*/ 341 w 660"/>
                  <a:gd name="T63" fmla="*/ 111 h 692"/>
                  <a:gd name="T64" fmla="*/ 426 w 660"/>
                  <a:gd name="T65" fmla="*/ 134 h 692"/>
                  <a:gd name="T66" fmla="*/ 455 w 660"/>
                  <a:gd name="T67" fmla="*/ 152 h 692"/>
                  <a:gd name="T68" fmla="*/ 487 w 660"/>
                  <a:gd name="T69" fmla="*/ 180 h 692"/>
                  <a:gd name="T70" fmla="*/ 504 w 660"/>
                  <a:gd name="T71" fmla="*/ 198 h 692"/>
                  <a:gd name="T72" fmla="*/ 532 w 660"/>
                  <a:gd name="T73" fmla="*/ 244 h 692"/>
                  <a:gd name="T74" fmla="*/ 543 w 660"/>
                  <a:gd name="T75" fmla="*/ 274 h 692"/>
                  <a:gd name="T76" fmla="*/ 549 w 660"/>
                  <a:gd name="T77" fmla="*/ 298 h 692"/>
                  <a:gd name="T78" fmla="*/ 552 w 660"/>
                  <a:gd name="T79" fmla="*/ 313 h 692"/>
                  <a:gd name="T80" fmla="*/ 553 w 660"/>
                  <a:gd name="T81" fmla="*/ 358 h 692"/>
                  <a:gd name="T82" fmla="*/ 549 w 660"/>
                  <a:gd name="T83" fmla="*/ 393 h 692"/>
                  <a:gd name="T84" fmla="*/ 544 w 660"/>
                  <a:gd name="T85" fmla="*/ 415 h 692"/>
                  <a:gd name="T86" fmla="*/ 516 w 660"/>
                  <a:gd name="T87" fmla="*/ 476 h 692"/>
                  <a:gd name="T88" fmla="*/ 502 w 660"/>
                  <a:gd name="T89" fmla="*/ 494 h 692"/>
                  <a:gd name="T90" fmla="*/ 417 w 660"/>
                  <a:gd name="T91" fmla="*/ 562 h 692"/>
                  <a:gd name="T92" fmla="*/ 330 w 660"/>
                  <a:gd name="T93" fmla="*/ 581 h 692"/>
                  <a:gd name="T94" fmla="*/ 242 w 660"/>
                  <a:gd name="T95" fmla="*/ 562 h 692"/>
                  <a:gd name="T96" fmla="*/ 187 w 660"/>
                  <a:gd name="T97" fmla="*/ 527 h 692"/>
                  <a:gd name="T98" fmla="*/ 157 w 660"/>
                  <a:gd name="T99" fmla="*/ 494 h 692"/>
                  <a:gd name="T100" fmla="*/ 124 w 660"/>
                  <a:gd name="T101" fmla="*/ 438 h 692"/>
                  <a:gd name="T102" fmla="*/ 113 w 660"/>
                  <a:gd name="T103" fmla="*/ 405 h 692"/>
                  <a:gd name="T104" fmla="*/ 109 w 660"/>
                  <a:gd name="T105" fmla="*/ 382 h 692"/>
                  <a:gd name="T106" fmla="*/ 106 w 660"/>
                  <a:gd name="T107" fmla="*/ 358 h 692"/>
                  <a:gd name="T108" fmla="*/ 107 w 660"/>
                  <a:gd name="T109" fmla="*/ 322 h 692"/>
                  <a:gd name="T110" fmla="*/ 113 w 660"/>
                  <a:gd name="T111" fmla="*/ 288 h 692"/>
                  <a:gd name="T112" fmla="*/ 121 w 660"/>
                  <a:gd name="T113" fmla="*/ 261 h 692"/>
                  <a:gd name="T114" fmla="*/ 128 w 660"/>
                  <a:gd name="T115" fmla="*/ 243 h 692"/>
                  <a:gd name="T116" fmla="*/ 148 w 660"/>
                  <a:gd name="T117" fmla="*/ 210 h 692"/>
                  <a:gd name="T118" fmla="*/ 164 w 660"/>
                  <a:gd name="T119" fmla="*/ 188 h 692"/>
                  <a:gd name="T120" fmla="*/ 253 w 660"/>
                  <a:gd name="T121" fmla="*/ 125 h 692"/>
                  <a:gd name="T122" fmla="*/ 330 w 660"/>
                  <a:gd name="T123" fmla="*/ 11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692">
                    <a:moveTo>
                      <a:pt x="375" y="0"/>
                    </a:moveTo>
                    <a:lnTo>
                      <a:pt x="374" y="6"/>
                    </a:lnTo>
                    <a:lnTo>
                      <a:pt x="371" y="17"/>
                    </a:lnTo>
                    <a:lnTo>
                      <a:pt x="366" y="26"/>
                    </a:lnTo>
                    <a:lnTo>
                      <a:pt x="359" y="35"/>
                    </a:lnTo>
                    <a:lnTo>
                      <a:pt x="351" y="42"/>
                    </a:lnTo>
                    <a:lnTo>
                      <a:pt x="342" y="47"/>
                    </a:lnTo>
                    <a:lnTo>
                      <a:pt x="333" y="51"/>
                    </a:lnTo>
                    <a:lnTo>
                      <a:pt x="323" y="53"/>
                    </a:lnTo>
                    <a:lnTo>
                      <a:pt x="317" y="54"/>
                    </a:lnTo>
                    <a:lnTo>
                      <a:pt x="311" y="53"/>
                    </a:lnTo>
                    <a:lnTo>
                      <a:pt x="302" y="51"/>
                    </a:lnTo>
                    <a:lnTo>
                      <a:pt x="291" y="48"/>
                    </a:lnTo>
                    <a:lnTo>
                      <a:pt x="284" y="42"/>
                    </a:lnTo>
                    <a:lnTo>
                      <a:pt x="276" y="36"/>
                    </a:lnTo>
                    <a:lnTo>
                      <a:pt x="269" y="29"/>
                    </a:lnTo>
                    <a:lnTo>
                      <a:pt x="264" y="20"/>
                    </a:lnTo>
                    <a:lnTo>
                      <a:pt x="260" y="9"/>
                    </a:lnTo>
                    <a:lnTo>
                      <a:pt x="260" y="5"/>
                    </a:lnTo>
                    <a:lnTo>
                      <a:pt x="251" y="6"/>
                    </a:lnTo>
                    <a:lnTo>
                      <a:pt x="236" y="11"/>
                    </a:lnTo>
                    <a:lnTo>
                      <a:pt x="221" y="15"/>
                    </a:lnTo>
                    <a:lnTo>
                      <a:pt x="206" y="21"/>
                    </a:lnTo>
                    <a:lnTo>
                      <a:pt x="200" y="24"/>
                    </a:lnTo>
                    <a:lnTo>
                      <a:pt x="202" y="30"/>
                    </a:lnTo>
                    <a:lnTo>
                      <a:pt x="203" y="41"/>
                    </a:lnTo>
                    <a:lnTo>
                      <a:pt x="203" y="51"/>
                    </a:lnTo>
                    <a:lnTo>
                      <a:pt x="202" y="62"/>
                    </a:lnTo>
                    <a:lnTo>
                      <a:pt x="199" y="72"/>
                    </a:lnTo>
                    <a:lnTo>
                      <a:pt x="194" y="81"/>
                    </a:lnTo>
                    <a:lnTo>
                      <a:pt x="187" y="90"/>
                    </a:lnTo>
                    <a:lnTo>
                      <a:pt x="179" y="98"/>
                    </a:lnTo>
                    <a:lnTo>
                      <a:pt x="175" y="101"/>
                    </a:lnTo>
                    <a:lnTo>
                      <a:pt x="170" y="102"/>
                    </a:lnTo>
                    <a:lnTo>
                      <a:pt x="161" y="107"/>
                    </a:lnTo>
                    <a:lnTo>
                      <a:pt x="151" y="108"/>
                    </a:lnTo>
                    <a:lnTo>
                      <a:pt x="142" y="108"/>
                    </a:lnTo>
                    <a:lnTo>
                      <a:pt x="131" y="107"/>
                    </a:lnTo>
                    <a:lnTo>
                      <a:pt x="122" y="104"/>
                    </a:lnTo>
                    <a:lnTo>
                      <a:pt x="115" y="99"/>
                    </a:lnTo>
                    <a:lnTo>
                      <a:pt x="107" y="93"/>
                    </a:lnTo>
                    <a:lnTo>
                      <a:pt x="103" y="90"/>
                    </a:lnTo>
                    <a:lnTo>
                      <a:pt x="94" y="99"/>
                    </a:lnTo>
                    <a:lnTo>
                      <a:pt x="76" y="120"/>
                    </a:lnTo>
                    <a:lnTo>
                      <a:pt x="67" y="131"/>
                    </a:lnTo>
                    <a:lnTo>
                      <a:pt x="71" y="135"/>
                    </a:lnTo>
                    <a:lnTo>
                      <a:pt x="79" y="143"/>
                    </a:lnTo>
                    <a:lnTo>
                      <a:pt x="85" y="152"/>
                    </a:lnTo>
                    <a:lnTo>
                      <a:pt x="88" y="162"/>
                    </a:lnTo>
                    <a:lnTo>
                      <a:pt x="89" y="173"/>
                    </a:lnTo>
                    <a:lnTo>
                      <a:pt x="89" y="183"/>
                    </a:lnTo>
                    <a:lnTo>
                      <a:pt x="88" y="195"/>
                    </a:lnTo>
                    <a:lnTo>
                      <a:pt x="85" y="205"/>
                    </a:lnTo>
                    <a:lnTo>
                      <a:pt x="82" y="210"/>
                    </a:lnTo>
                    <a:lnTo>
                      <a:pt x="79" y="214"/>
                    </a:lnTo>
                    <a:lnTo>
                      <a:pt x="73" y="223"/>
                    </a:lnTo>
                    <a:lnTo>
                      <a:pt x="65" y="229"/>
                    </a:lnTo>
                    <a:lnTo>
                      <a:pt x="56" y="235"/>
                    </a:lnTo>
                    <a:lnTo>
                      <a:pt x="47" y="238"/>
                    </a:lnTo>
                    <a:lnTo>
                      <a:pt x="39" y="241"/>
                    </a:lnTo>
                    <a:lnTo>
                      <a:pt x="28" y="241"/>
                    </a:lnTo>
                    <a:lnTo>
                      <a:pt x="18" y="240"/>
                    </a:lnTo>
                    <a:lnTo>
                      <a:pt x="13" y="238"/>
                    </a:lnTo>
                    <a:lnTo>
                      <a:pt x="12" y="246"/>
                    </a:lnTo>
                    <a:lnTo>
                      <a:pt x="7" y="261"/>
                    </a:lnTo>
                    <a:lnTo>
                      <a:pt x="4" y="276"/>
                    </a:lnTo>
                    <a:lnTo>
                      <a:pt x="1" y="292"/>
                    </a:lnTo>
                    <a:lnTo>
                      <a:pt x="0" y="300"/>
                    </a:lnTo>
                    <a:lnTo>
                      <a:pt x="6" y="301"/>
                    </a:lnTo>
                    <a:lnTo>
                      <a:pt x="16" y="304"/>
                    </a:lnTo>
                    <a:lnTo>
                      <a:pt x="25" y="309"/>
                    </a:lnTo>
                    <a:lnTo>
                      <a:pt x="34" y="316"/>
                    </a:lnTo>
                    <a:lnTo>
                      <a:pt x="42" y="324"/>
                    </a:lnTo>
                    <a:lnTo>
                      <a:pt x="46" y="334"/>
                    </a:lnTo>
                    <a:lnTo>
                      <a:pt x="50" y="343"/>
                    </a:lnTo>
                    <a:lnTo>
                      <a:pt x="52" y="355"/>
                    </a:lnTo>
                    <a:lnTo>
                      <a:pt x="52" y="361"/>
                    </a:lnTo>
                    <a:lnTo>
                      <a:pt x="52" y="367"/>
                    </a:lnTo>
                    <a:lnTo>
                      <a:pt x="50" y="378"/>
                    </a:lnTo>
                    <a:lnTo>
                      <a:pt x="47" y="388"/>
                    </a:lnTo>
                    <a:lnTo>
                      <a:pt x="42" y="397"/>
                    </a:lnTo>
                    <a:lnTo>
                      <a:pt x="36" y="405"/>
                    </a:lnTo>
                    <a:lnTo>
                      <a:pt x="28" y="412"/>
                    </a:lnTo>
                    <a:lnTo>
                      <a:pt x="19" y="417"/>
                    </a:lnTo>
                    <a:lnTo>
                      <a:pt x="10" y="421"/>
                    </a:lnTo>
                    <a:lnTo>
                      <a:pt x="4" y="421"/>
                    </a:lnTo>
                    <a:lnTo>
                      <a:pt x="9" y="436"/>
                    </a:lnTo>
                    <a:lnTo>
                      <a:pt x="12" y="449"/>
                    </a:lnTo>
                    <a:lnTo>
                      <a:pt x="16" y="449"/>
                    </a:lnTo>
                    <a:lnTo>
                      <a:pt x="24" y="448"/>
                    </a:lnTo>
                    <a:lnTo>
                      <a:pt x="28" y="448"/>
                    </a:lnTo>
                    <a:lnTo>
                      <a:pt x="31" y="448"/>
                    </a:lnTo>
                    <a:lnTo>
                      <a:pt x="39" y="449"/>
                    </a:lnTo>
                    <a:lnTo>
                      <a:pt x="46" y="451"/>
                    </a:lnTo>
                    <a:lnTo>
                      <a:pt x="53" y="454"/>
                    </a:lnTo>
                    <a:lnTo>
                      <a:pt x="59" y="458"/>
                    </a:lnTo>
                    <a:lnTo>
                      <a:pt x="65" y="463"/>
                    </a:lnTo>
                    <a:lnTo>
                      <a:pt x="71" y="469"/>
                    </a:lnTo>
                    <a:lnTo>
                      <a:pt x="76" y="475"/>
                    </a:lnTo>
                    <a:lnTo>
                      <a:pt x="77" y="478"/>
                    </a:lnTo>
                    <a:lnTo>
                      <a:pt x="80" y="484"/>
                    </a:lnTo>
                    <a:lnTo>
                      <a:pt x="83" y="494"/>
                    </a:lnTo>
                    <a:lnTo>
                      <a:pt x="85" y="505"/>
                    </a:lnTo>
                    <a:lnTo>
                      <a:pt x="85" y="515"/>
                    </a:lnTo>
                    <a:lnTo>
                      <a:pt x="83" y="526"/>
                    </a:lnTo>
                    <a:lnTo>
                      <a:pt x="80" y="536"/>
                    </a:lnTo>
                    <a:lnTo>
                      <a:pt x="74" y="545"/>
                    </a:lnTo>
                    <a:lnTo>
                      <a:pt x="68" y="553"/>
                    </a:lnTo>
                    <a:lnTo>
                      <a:pt x="64" y="557"/>
                    </a:lnTo>
                    <a:lnTo>
                      <a:pt x="68" y="563"/>
                    </a:lnTo>
                    <a:lnTo>
                      <a:pt x="79" y="575"/>
                    </a:lnTo>
                    <a:lnTo>
                      <a:pt x="88" y="586"/>
                    </a:lnTo>
                    <a:lnTo>
                      <a:pt x="98" y="598"/>
                    </a:lnTo>
                    <a:lnTo>
                      <a:pt x="104" y="602"/>
                    </a:lnTo>
                    <a:lnTo>
                      <a:pt x="106" y="601"/>
                    </a:lnTo>
                    <a:lnTo>
                      <a:pt x="110" y="595"/>
                    </a:lnTo>
                    <a:lnTo>
                      <a:pt x="116" y="592"/>
                    </a:lnTo>
                    <a:lnTo>
                      <a:pt x="121" y="587"/>
                    </a:lnTo>
                    <a:lnTo>
                      <a:pt x="127" y="584"/>
                    </a:lnTo>
                    <a:lnTo>
                      <a:pt x="133" y="583"/>
                    </a:lnTo>
                    <a:lnTo>
                      <a:pt x="139" y="581"/>
                    </a:lnTo>
                    <a:lnTo>
                      <a:pt x="145" y="580"/>
                    </a:lnTo>
                    <a:lnTo>
                      <a:pt x="148" y="580"/>
                    </a:lnTo>
                    <a:lnTo>
                      <a:pt x="152" y="580"/>
                    </a:lnTo>
                    <a:lnTo>
                      <a:pt x="160" y="581"/>
                    </a:lnTo>
                    <a:lnTo>
                      <a:pt x="167" y="583"/>
                    </a:lnTo>
                    <a:lnTo>
                      <a:pt x="175" y="586"/>
                    </a:lnTo>
                    <a:lnTo>
                      <a:pt x="179" y="589"/>
                    </a:lnTo>
                    <a:lnTo>
                      <a:pt x="184" y="592"/>
                    </a:lnTo>
                    <a:lnTo>
                      <a:pt x="193" y="599"/>
                    </a:lnTo>
                    <a:lnTo>
                      <a:pt x="199" y="608"/>
                    </a:lnTo>
                    <a:lnTo>
                      <a:pt x="205" y="619"/>
                    </a:lnTo>
                    <a:lnTo>
                      <a:pt x="208" y="629"/>
                    </a:lnTo>
                    <a:lnTo>
                      <a:pt x="209" y="641"/>
                    </a:lnTo>
                    <a:lnTo>
                      <a:pt x="208" y="652"/>
                    </a:lnTo>
                    <a:lnTo>
                      <a:pt x="205" y="664"/>
                    </a:lnTo>
                    <a:lnTo>
                      <a:pt x="203" y="668"/>
                    </a:lnTo>
                    <a:lnTo>
                      <a:pt x="209" y="671"/>
                    </a:lnTo>
                    <a:lnTo>
                      <a:pt x="224" y="677"/>
                    </a:lnTo>
                    <a:lnTo>
                      <a:pt x="238" y="682"/>
                    </a:lnTo>
                    <a:lnTo>
                      <a:pt x="253" y="686"/>
                    </a:lnTo>
                    <a:lnTo>
                      <a:pt x="260" y="687"/>
                    </a:lnTo>
                    <a:lnTo>
                      <a:pt x="260" y="682"/>
                    </a:lnTo>
                    <a:lnTo>
                      <a:pt x="264" y="673"/>
                    </a:lnTo>
                    <a:lnTo>
                      <a:pt x="269" y="664"/>
                    </a:lnTo>
                    <a:lnTo>
                      <a:pt x="276" y="656"/>
                    </a:lnTo>
                    <a:lnTo>
                      <a:pt x="284" y="649"/>
                    </a:lnTo>
                    <a:lnTo>
                      <a:pt x="291" y="644"/>
                    </a:lnTo>
                    <a:lnTo>
                      <a:pt x="302" y="640"/>
                    </a:lnTo>
                    <a:lnTo>
                      <a:pt x="311" y="638"/>
                    </a:lnTo>
                    <a:lnTo>
                      <a:pt x="317" y="638"/>
                    </a:lnTo>
                    <a:lnTo>
                      <a:pt x="323" y="638"/>
                    </a:lnTo>
                    <a:lnTo>
                      <a:pt x="333" y="641"/>
                    </a:lnTo>
                    <a:lnTo>
                      <a:pt x="342" y="644"/>
                    </a:lnTo>
                    <a:lnTo>
                      <a:pt x="351" y="650"/>
                    </a:lnTo>
                    <a:lnTo>
                      <a:pt x="359" y="658"/>
                    </a:lnTo>
                    <a:lnTo>
                      <a:pt x="366" y="667"/>
                    </a:lnTo>
                    <a:lnTo>
                      <a:pt x="371" y="676"/>
                    </a:lnTo>
                    <a:lnTo>
                      <a:pt x="374" y="686"/>
                    </a:lnTo>
                    <a:lnTo>
                      <a:pt x="375" y="692"/>
                    </a:lnTo>
                    <a:lnTo>
                      <a:pt x="389" y="689"/>
                    </a:lnTo>
                    <a:lnTo>
                      <a:pt x="414" y="683"/>
                    </a:lnTo>
                    <a:lnTo>
                      <a:pt x="428" y="680"/>
                    </a:lnTo>
                    <a:lnTo>
                      <a:pt x="426" y="674"/>
                    </a:lnTo>
                    <a:lnTo>
                      <a:pt x="425" y="664"/>
                    </a:lnTo>
                    <a:lnTo>
                      <a:pt x="425" y="653"/>
                    </a:lnTo>
                    <a:lnTo>
                      <a:pt x="426" y="644"/>
                    </a:lnTo>
                    <a:lnTo>
                      <a:pt x="429" y="634"/>
                    </a:lnTo>
                    <a:lnTo>
                      <a:pt x="435" y="625"/>
                    </a:lnTo>
                    <a:lnTo>
                      <a:pt x="441" y="617"/>
                    </a:lnTo>
                    <a:lnTo>
                      <a:pt x="449" y="610"/>
                    </a:lnTo>
                    <a:lnTo>
                      <a:pt x="453" y="607"/>
                    </a:lnTo>
                    <a:lnTo>
                      <a:pt x="456" y="605"/>
                    </a:lnTo>
                    <a:lnTo>
                      <a:pt x="464" y="602"/>
                    </a:lnTo>
                    <a:lnTo>
                      <a:pt x="471" y="599"/>
                    </a:lnTo>
                    <a:lnTo>
                      <a:pt x="477" y="599"/>
                    </a:lnTo>
                    <a:lnTo>
                      <a:pt x="481" y="599"/>
                    </a:lnTo>
                    <a:lnTo>
                      <a:pt x="484" y="599"/>
                    </a:lnTo>
                    <a:lnTo>
                      <a:pt x="492" y="599"/>
                    </a:lnTo>
                    <a:lnTo>
                      <a:pt x="498" y="601"/>
                    </a:lnTo>
                    <a:lnTo>
                      <a:pt x="505" y="604"/>
                    </a:lnTo>
                    <a:lnTo>
                      <a:pt x="511" y="607"/>
                    </a:lnTo>
                    <a:lnTo>
                      <a:pt x="517" y="611"/>
                    </a:lnTo>
                    <a:lnTo>
                      <a:pt x="523" y="616"/>
                    </a:lnTo>
                    <a:lnTo>
                      <a:pt x="528" y="622"/>
                    </a:lnTo>
                    <a:lnTo>
                      <a:pt x="531" y="625"/>
                    </a:lnTo>
                    <a:lnTo>
                      <a:pt x="537" y="619"/>
                    </a:lnTo>
                    <a:lnTo>
                      <a:pt x="549" y="608"/>
                    </a:lnTo>
                    <a:lnTo>
                      <a:pt x="561" y="598"/>
                    </a:lnTo>
                    <a:lnTo>
                      <a:pt x="571" y="586"/>
                    </a:lnTo>
                    <a:lnTo>
                      <a:pt x="577" y="580"/>
                    </a:lnTo>
                    <a:lnTo>
                      <a:pt x="573" y="575"/>
                    </a:lnTo>
                    <a:lnTo>
                      <a:pt x="567" y="568"/>
                    </a:lnTo>
                    <a:lnTo>
                      <a:pt x="562" y="559"/>
                    </a:lnTo>
                    <a:lnTo>
                      <a:pt x="559" y="548"/>
                    </a:lnTo>
                    <a:lnTo>
                      <a:pt x="558" y="538"/>
                    </a:lnTo>
                    <a:lnTo>
                      <a:pt x="558" y="527"/>
                    </a:lnTo>
                    <a:lnTo>
                      <a:pt x="559" y="517"/>
                    </a:lnTo>
                    <a:lnTo>
                      <a:pt x="562" y="508"/>
                    </a:lnTo>
                    <a:lnTo>
                      <a:pt x="565" y="502"/>
                    </a:lnTo>
                    <a:lnTo>
                      <a:pt x="567" y="499"/>
                    </a:lnTo>
                    <a:lnTo>
                      <a:pt x="573" y="493"/>
                    </a:lnTo>
                    <a:lnTo>
                      <a:pt x="577" y="487"/>
                    </a:lnTo>
                    <a:lnTo>
                      <a:pt x="583" y="482"/>
                    </a:lnTo>
                    <a:lnTo>
                      <a:pt x="591" y="478"/>
                    </a:lnTo>
                    <a:lnTo>
                      <a:pt x="597" y="475"/>
                    </a:lnTo>
                    <a:lnTo>
                      <a:pt x="604" y="473"/>
                    </a:lnTo>
                    <a:lnTo>
                      <a:pt x="612" y="472"/>
                    </a:lnTo>
                    <a:lnTo>
                      <a:pt x="615" y="472"/>
                    </a:lnTo>
                    <a:lnTo>
                      <a:pt x="618" y="472"/>
                    </a:lnTo>
                    <a:lnTo>
                      <a:pt x="624" y="472"/>
                    </a:lnTo>
                    <a:lnTo>
                      <a:pt x="630" y="473"/>
                    </a:lnTo>
                    <a:lnTo>
                      <a:pt x="636" y="475"/>
                    </a:lnTo>
                    <a:lnTo>
                      <a:pt x="639" y="476"/>
                    </a:lnTo>
                    <a:lnTo>
                      <a:pt x="643" y="463"/>
                    </a:lnTo>
                    <a:lnTo>
                      <a:pt x="652" y="435"/>
                    </a:lnTo>
                    <a:lnTo>
                      <a:pt x="655" y="421"/>
                    </a:lnTo>
                    <a:lnTo>
                      <a:pt x="651" y="420"/>
                    </a:lnTo>
                    <a:lnTo>
                      <a:pt x="642" y="415"/>
                    </a:lnTo>
                    <a:lnTo>
                      <a:pt x="633" y="411"/>
                    </a:lnTo>
                    <a:lnTo>
                      <a:pt x="627" y="403"/>
                    </a:lnTo>
                    <a:lnTo>
                      <a:pt x="621" y="396"/>
                    </a:lnTo>
                    <a:lnTo>
                      <a:pt x="616" y="387"/>
                    </a:lnTo>
                    <a:lnTo>
                      <a:pt x="612" y="378"/>
                    </a:lnTo>
                    <a:lnTo>
                      <a:pt x="610" y="367"/>
                    </a:lnTo>
                    <a:lnTo>
                      <a:pt x="610" y="361"/>
                    </a:lnTo>
                    <a:lnTo>
                      <a:pt x="610" y="355"/>
                    </a:lnTo>
                    <a:lnTo>
                      <a:pt x="613" y="345"/>
                    </a:lnTo>
                    <a:lnTo>
                      <a:pt x="616" y="334"/>
                    </a:lnTo>
                    <a:lnTo>
                      <a:pt x="622" y="325"/>
                    </a:lnTo>
                    <a:lnTo>
                      <a:pt x="628" y="318"/>
                    </a:lnTo>
                    <a:lnTo>
                      <a:pt x="636" y="310"/>
                    </a:lnTo>
                    <a:lnTo>
                      <a:pt x="645" y="306"/>
                    </a:lnTo>
                    <a:lnTo>
                      <a:pt x="655" y="301"/>
                    </a:lnTo>
                    <a:lnTo>
                      <a:pt x="660" y="300"/>
                    </a:lnTo>
                    <a:lnTo>
                      <a:pt x="658" y="289"/>
                    </a:lnTo>
                    <a:lnTo>
                      <a:pt x="654" y="265"/>
                    </a:lnTo>
                    <a:lnTo>
                      <a:pt x="648" y="243"/>
                    </a:lnTo>
                    <a:lnTo>
                      <a:pt x="642" y="222"/>
                    </a:lnTo>
                    <a:lnTo>
                      <a:pt x="637" y="211"/>
                    </a:lnTo>
                    <a:lnTo>
                      <a:pt x="631" y="213"/>
                    </a:lnTo>
                    <a:lnTo>
                      <a:pt x="621" y="216"/>
                    </a:lnTo>
                    <a:lnTo>
                      <a:pt x="610" y="217"/>
                    </a:lnTo>
                    <a:lnTo>
                      <a:pt x="600" y="216"/>
                    </a:lnTo>
                    <a:lnTo>
                      <a:pt x="589" y="213"/>
                    </a:lnTo>
                    <a:lnTo>
                      <a:pt x="580" y="207"/>
                    </a:lnTo>
                    <a:lnTo>
                      <a:pt x="571" y="201"/>
                    </a:lnTo>
                    <a:lnTo>
                      <a:pt x="564" y="192"/>
                    </a:lnTo>
                    <a:lnTo>
                      <a:pt x="561" y="186"/>
                    </a:lnTo>
                    <a:lnTo>
                      <a:pt x="558" y="182"/>
                    </a:lnTo>
                    <a:lnTo>
                      <a:pt x="555" y="171"/>
                    </a:lnTo>
                    <a:lnTo>
                      <a:pt x="553" y="161"/>
                    </a:lnTo>
                    <a:lnTo>
                      <a:pt x="553" y="150"/>
                    </a:lnTo>
                    <a:lnTo>
                      <a:pt x="555" y="140"/>
                    </a:lnTo>
                    <a:lnTo>
                      <a:pt x="558" y="129"/>
                    </a:lnTo>
                    <a:lnTo>
                      <a:pt x="564" y="120"/>
                    </a:lnTo>
                    <a:lnTo>
                      <a:pt x="570" y="113"/>
                    </a:lnTo>
                    <a:lnTo>
                      <a:pt x="574" y="108"/>
                    </a:lnTo>
                    <a:lnTo>
                      <a:pt x="564" y="98"/>
                    </a:lnTo>
                    <a:lnTo>
                      <a:pt x="543" y="78"/>
                    </a:lnTo>
                    <a:lnTo>
                      <a:pt x="532" y="69"/>
                    </a:lnTo>
                    <a:lnTo>
                      <a:pt x="528" y="72"/>
                    </a:lnTo>
                    <a:lnTo>
                      <a:pt x="520" y="80"/>
                    </a:lnTo>
                    <a:lnTo>
                      <a:pt x="511" y="84"/>
                    </a:lnTo>
                    <a:lnTo>
                      <a:pt x="502" y="89"/>
                    </a:lnTo>
                    <a:lnTo>
                      <a:pt x="492" y="90"/>
                    </a:lnTo>
                    <a:lnTo>
                      <a:pt x="483" y="90"/>
                    </a:lnTo>
                    <a:lnTo>
                      <a:pt x="473" y="89"/>
                    </a:lnTo>
                    <a:lnTo>
                      <a:pt x="462" y="84"/>
                    </a:lnTo>
                    <a:lnTo>
                      <a:pt x="458" y="83"/>
                    </a:lnTo>
                    <a:lnTo>
                      <a:pt x="453" y="80"/>
                    </a:lnTo>
                    <a:lnTo>
                      <a:pt x="446" y="72"/>
                    </a:lnTo>
                    <a:lnTo>
                      <a:pt x="440" y="65"/>
                    </a:lnTo>
                    <a:lnTo>
                      <a:pt x="435" y="57"/>
                    </a:lnTo>
                    <a:lnTo>
                      <a:pt x="431" y="48"/>
                    </a:lnTo>
                    <a:lnTo>
                      <a:pt x="429" y="38"/>
                    </a:lnTo>
                    <a:lnTo>
                      <a:pt x="429" y="29"/>
                    </a:lnTo>
                    <a:lnTo>
                      <a:pt x="429" y="18"/>
                    </a:lnTo>
                    <a:lnTo>
                      <a:pt x="431" y="14"/>
                    </a:lnTo>
                    <a:lnTo>
                      <a:pt x="423" y="11"/>
                    </a:lnTo>
                    <a:lnTo>
                      <a:pt x="410" y="8"/>
                    </a:lnTo>
                    <a:lnTo>
                      <a:pt x="396" y="3"/>
                    </a:lnTo>
                    <a:lnTo>
                      <a:pt x="383" y="2"/>
                    </a:lnTo>
                    <a:lnTo>
                      <a:pt x="375" y="0"/>
                    </a:lnTo>
                    <a:lnTo>
                      <a:pt x="375" y="0"/>
                    </a:lnTo>
                    <a:close/>
                    <a:moveTo>
                      <a:pt x="330" y="111"/>
                    </a:moveTo>
                    <a:lnTo>
                      <a:pt x="335" y="111"/>
                    </a:lnTo>
                    <a:lnTo>
                      <a:pt x="341" y="111"/>
                    </a:lnTo>
                    <a:lnTo>
                      <a:pt x="353" y="113"/>
                    </a:lnTo>
                    <a:lnTo>
                      <a:pt x="375" y="116"/>
                    </a:lnTo>
                    <a:lnTo>
                      <a:pt x="386" y="119"/>
                    </a:lnTo>
                    <a:lnTo>
                      <a:pt x="392" y="120"/>
                    </a:lnTo>
                    <a:lnTo>
                      <a:pt x="396" y="122"/>
                    </a:lnTo>
                    <a:lnTo>
                      <a:pt x="407" y="125"/>
                    </a:lnTo>
                    <a:lnTo>
                      <a:pt x="417" y="129"/>
                    </a:lnTo>
                    <a:lnTo>
                      <a:pt x="422" y="132"/>
                    </a:lnTo>
                    <a:lnTo>
                      <a:pt x="426" y="134"/>
                    </a:lnTo>
                    <a:lnTo>
                      <a:pt x="429" y="135"/>
                    </a:lnTo>
                    <a:lnTo>
                      <a:pt x="432" y="137"/>
                    </a:lnTo>
                    <a:lnTo>
                      <a:pt x="432" y="137"/>
                    </a:lnTo>
                    <a:lnTo>
                      <a:pt x="432" y="137"/>
                    </a:lnTo>
                    <a:lnTo>
                      <a:pt x="435" y="140"/>
                    </a:lnTo>
                    <a:lnTo>
                      <a:pt x="440" y="141"/>
                    </a:lnTo>
                    <a:lnTo>
                      <a:pt x="443" y="143"/>
                    </a:lnTo>
                    <a:lnTo>
                      <a:pt x="446" y="146"/>
                    </a:lnTo>
                    <a:lnTo>
                      <a:pt x="455" y="152"/>
                    </a:lnTo>
                    <a:lnTo>
                      <a:pt x="464" y="158"/>
                    </a:lnTo>
                    <a:lnTo>
                      <a:pt x="467" y="161"/>
                    </a:lnTo>
                    <a:lnTo>
                      <a:pt x="470" y="164"/>
                    </a:lnTo>
                    <a:lnTo>
                      <a:pt x="473" y="165"/>
                    </a:lnTo>
                    <a:lnTo>
                      <a:pt x="474" y="167"/>
                    </a:lnTo>
                    <a:lnTo>
                      <a:pt x="477" y="168"/>
                    </a:lnTo>
                    <a:lnTo>
                      <a:pt x="478" y="171"/>
                    </a:lnTo>
                    <a:lnTo>
                      <a:pt x="483" y="176"/>
                    </a:lnTo>
                    <a:lnTo>
                      <a:pt x="487" y="180"/>
                    </a:lnTo>
                    <a:lnTo>
                      <a:pt x="490" y="183"/>
                    </a:lnTo>
                    <a:lnTo>
                      <a:pt x="493" y="186"/>
                    </a:lnTo>
                    <a:lnTo>
                      <a:pt x="493" y="186"/>
                    </a:lnTo>
                    <a:lnTo>
                      <a:pt x="495" y="188"/>
                    </a:lnTo>
                    <a:lnTo>
                      <a:pt x="496" y="189"/>
                    </a:lnTo>
                    <a:lnTo>
                      <a:pt x="499" y="194"/>
                    </a:lnTo>
                    <a:lnTo>
                      <a:pt x="502" y="196"/>
                    </a:lnTo>
                    <a:lnTo>
                      <a:pt x="504" y="198"/>
                    </a:lnTo>
                    <a:lnTo>
                      <a:pt x="504" y="198"/>
                    </a:lnTo>
                    <a:lnTo>
                      <a:pt x="507" y="202"/>
                    </a:lnTo>
                    <a:lnTo>
                      <a:pt x="510" y="205"/>
                    </a:lnTo>
                    <a:lnTo>
                      <a:pt x="513" y="210"/>
                    </a:lnTo>
                    <a:lnTo>
                      <a:pt x="514" y="214"/>
                    </a:lnTo>
                    <a:lnTo>
                      <a:pt x="519" y="220"/>
                    </a:lnTo>
                    <a:lnTo>
                      <a:pt x="523" y="226"/>
                    </a:lnTo>
                    <a:lnTo>
                      <a:pt x="525" y="231"/>
                    </a:lnTo>
                    <a:lnTo>
                      <a:pt x="526" y="234"/>
                    </a:lnTo>
                    <a:lnTo>
                      <a:pt x="532" y="244"/>
                    </a:lnTo>
                    <a:lnTo>
                      <a:pt x="537" y="255"/>
                    </a:lnTo>
                    <a:lnTo>
                      <a:pt x="538" y="259"/>
                    </a:lnTo>
                    <a:lnTo>
                      <a:pt x="540" y="264"/>
                    </a:lnTo>
                    <a:lnTo>
                      <a:pt x="540" y="264"/>
                    </a:lnTo>
                    <a:lnTo>
                      <a:pt x="540" y="265"/>
                    </a:lnTo>
                    <a:lnTo>
                      <a:pt x="541" y="268"/>
                    </a:lnTo>
                    <a:lnTo>
                      <a:pt x="543" y="273"/>
                    </a:lnTo>
                    <a:lnTo>
                      <a:pt x="543" y="274"/>
                    </a:lnTo>
                    <a:lnTo>
                      <a:pt x="543" y="274"/>
                    </a:lnTo>
                    <a:lnTo>
                      <a:pt x="544" y="276"/>
                    </a:lnTo>
                    <a:lnTo>
                      <a:pt x="544" y="277"/>
                    </a:lnTo>
                    <a:lnTo>
                      <a:pt x="546" y="282"/>
                    </a:lnTo>
                    <a:lnTo>
                      <a:pt x="546" y="286"/>
                    </a:lnTo>
                    <a:lnTo>
                      <a:pt x="547" y="288"/>
                    </a:lnTo>
                    <a:lnTo>
                      <a:pt x="547" y="289"/>
                    </a:lnTo>
                    <a:lnTo>
                      <a:pt x="547" y="292"/>
                    </a:lnTo>
                    <a:lnTo>
                      <a:pt x="549" y="295"/>
                    </a:lnTo>
                    <a:lnTo>
                      <a:pt x="549" y="298"/>
                    </a:lnTo>
                    <a:lnTo>
                      <a:pt x="550" y="303"/>
                    </a:lnTo>
                    <a:lnTo>
                      <a:pt x="550" y="303"/>
                    </a:lnTo>
                    <a:lnTo>
                      <a:pt x="550" y="303"/>
                    </a:lnTo>
                    <a:lnTo>
                      <a:pt x="550" y="303"/>
                    </a:lnTo>
                    <a:lnTo>
                      <a:pt x="550" y="304"/>
                    </a:lnTo>
                    <a:lnTo>
                      <a:pt x="550" y="307"/>
                    </a:lnTo>
                    <a:lnTo>
                      <a:pt x="552" y="312"/>
                    </a:lnTo>
                    <a:lnTo>
                      <a:pt x="552" y="313"/>
                    </a:lnTo>
                    <a:lnTo>
                      <a:pt x="552" y="313"/>
                    </a:lnTo>
                    <a:lnTo>
                      <a:pt x="552" y="315"/>
                    </a:lnTo>
                    <a:lnTo>
                      <a:pt x="552" y="315"/>
                    </a:lnTo>
                    <a:lnTo>
                      <a:pt x="552" y="319"/>
                    </a:lnTo>
                    <a:lnTo>
                      <a:pt x="553" y="324"/>
                    </a:lnTo>
                    <a:lnTo>
                      <a:pt x="553" y="328"/>
                    </a:lnTo>
                    <a:lnTo>
                      <a:pt x="553" y="334"/>
                    </a:lnTo>
                    <a:lnTo>
                      <a:pt x="553" y="340"/>
                    </a:lnTo>
                    <a:lnTo>
                      <a:pt x="553" y="346"/>
                    </a:lnTo>
                    <a:lnTo>
                      <a:pt x="553" y="358"/>
                    </a:lnTo>
                    <a:lnTo>
                      <a:pt x="553" y="370"/>
                    </a:lnTo>
                    <a:lnTo>
                      <a:pt x="553" y="370"/>
                    </a:lnTo>
                    <a:lnTo>
                      <a:pt x="552" y="376"/>
                    </a:lnTo>
                    <a:lnTo>
                      <a:pt x="552" y="382"/>
                    </a:lnTo>
                    <a:lnTo>
                      <a:pt x="552" y="382"/>
                    </a:lnTo>
                    <a:lnTo>
                      <a:pt x="550" y="388"/>
                    </a:lnTo>
                    <a:lnTo>
                      <a:pt x="549" y="393"/>
                    </a:lnTo>
                    <a:lnTo>
                      <a:pt x="549" y="393"/>
                    </a:lnTo>
                    <a:lnTo>
                      <a:pt x="549" y="393"/>
                    </a:lnTo>
                    <a:lnTo>
                      <a:pt x="549" y="396"/>
                    </a:lnTo>
                    <a:lnTo>
                      <a:pt x="549" y="399"/>
                    </a:lnTo>
                    <a:lnTo>
                      <a:pt x="547" y="402"/>
                    </a:lnTo>
                    <a:lnTo>
                      <a:pt x="547" y="405"/>
                    </a:lnTo>
                    <a:lnTo>
                      <a:pt x="547" y="405"/>
                    </a:lnTo>
                    <a:lnTo>
                      <a:pt x="547" y="405"/>
                    </a:lnTo>
                    <a:lnTo>
                      <a:pt x="546" y="411"/>
                    </a:lnTo>
                    <a:lnTo>
                      <a:pt x="544" y="415"/>
                    </a:lnTo>
                    <a:lnTo>
                      <a:pt x="544" y="415"/>
                    </a:lnTo>
                    <a:lnTo>
                      <a:pt x="544" y="417"/>
                    </a:lnTo>
                    <a:lnTo>
                      <a:pt x="540" y="427"/>
                    </a:lnTo>
                    <a:lnTo>
                      <a:pt x="537" y="438"/>
                    </a:lnTo>
                    <a:lnTo>
                      <a:pt x="532" y="448"/>
                    </a:lnTo>
                    <a:lnTo>
                      <a:pt x="526" y="458"/>
                    </a:lnTo>
                    <a:lnTo>
                      <a:pt x="526" y="458"/>
                    </a:lnTo>
                    <a:lnTo>
                      <a:pt x="526" y="458"/>
                    </a:lnTo>
                    <a:lnTo>
                      <a:pt x="522" y="467"/>
                    </a:lnTo>
                    <a:lnTo>
                      <a:pt x="516" y="476"/>
                    </a:lnTo>
                    <a:lnTo>
                      <a:pt x="516" y="476"/>
                    </a:lnTo>
                    <a:lnTo>
                      <a:pt x="516" y="476"/>
                    </a:lnTo>
                    <a:lnTo>
                      <a:pt x="513" y="482"/>
                    </a:lnTo>
                    <a:lnTo>
                      <a:pt x="510" y="485"/>
                    </a:lnTo>
                    <a:lnTo>
                      <a:pt x="510" y="487"/>
                    </a:lnTo>
                    <a:lnTo>
                      <a:pt x="510" y="487"/>
                    </a:lnTo>
                    <a:lnTo>
                      <a:pt x="505" y="491"/>
                    </a:lnTo>
                    <a:lnTo>
                      <a:pt x="502" y="494"/>
                    </a:lnTo>
                    <a:lnTo>
                      <a:pt x="502" y="494"/>
                    </a:lnTo>
                    <a:lnTo>
                      <a:pt x="502" y="496"/>
                    </a:lnTo>
                    <a:lnTo>
                      <a:pt x="496" y="503"/>
                    </a:lnTo>
                    <a:lnTo>
                      <a:pt x="480" y="520"/>
                    </a:lnTo>
                    <a:lnTo>
                      <a:pt x="473" y="527"/>
                    </a:lnTo>
                    <a:lnTo>
                      <a:pt x="464" y="533"/>
                    </a:lnTo>
                    <a:lnTo>
                      <a:pt x="446" y="547"/>
                    </a:lnTo>
                    <a:lnTo>
                      <a:pt x="437" y="553"/>
                    </a:lnTo>
                    <a:lnTo>
                      <a:pt x="426" y="557"/>
                    </a:lnTo>
                    <a:lnTo>
                      <a:pt x="417" y="562"/>
                    </a:lnTo>
                    <a:lnTo>
                      <a:pt x="407" y="566"/>
                    </a:lnTo>
                    <a:lnTo>
                      <a:pt x="396" y="571"/>
                    </a:lnTo>
                    <a:lnTo>
                      <a:pt x="392" y="572"/>
                    </a:lnTo>
                    <a:lnTo>
                      <a:pt x="386" y="574"/>
                    </a:lnTo>
                    <a:lnTo>
                      <a:pt x="375" y="577"/>
                    </a:lnTo>
                    <a:lnTo>
                      <a:pt x="353" y="580"/>
                    </a:lnTo>
                    <a:lnTo>
                      <a:pt x="341" y="580"/>
                    </a:lnTo>
                    <a:lnTo>
                      <a:pt x="335" y="581"/>
                    </a:lnTo>
                    <a:lnTo>
                      <a:pt x="330" y="581"/>
                    </a:lnTo>
                    <a:lnTo>
                      <a:pt x="324" y="581"/>
                    </a:lnTo>
                    <a:lnTo>
                      <a:pt x="318" y="580"/>
                    </a:lnTo>
                    <a:lnTo>
                      <a:pt x="306" y="580"/>
                    </a:lnTo>
                    <a:lnTo>
                      <a:pt x="284" y="577"/>
                    </a:lnTo>
                    <a:lnTo>
                      <a:pt x="273" y="574"/>
                    </a:lnTo>
                    <a:lnTo>
                      <a:pt x="269" y="572"/>
                    </a:lnTo>
                    <a:lnTo>
                      <a:pt x="263" y="571"/>
                    </a:lnTo>
                    <a:lnTo>
                      <a:pt x="253" y="566"/>
                    </a:lnTo>
                    <a:lnTo>
                      <a:pt x="242" y="562"/>
                    </a:lnTo>
                    <a:lnTo>
                      <a:pt x="233" y="557"/>
                    </a:lnTo>
                    <a:lnTo>
                      <a:pt x="223" y="553"/>
                    </a:lnTo>
                    <a:lnTo>
                      <a:pt x="218" y="550"/>
                    </a:lnTo>
                    <a:lnTo>
                      <a:pt x="214" y="547"/>
                    </a:lnTo>
                    <a:lnTo>
                      <a:pt x="209" y="544"/>
                    </a:lnTo>
                    <a:lnTo>
                      <a:pt x="205" y="541"/>
                    </a:lnTo>
                    <a:lnTo>
                      <a:pt x="200" y="538"/>
                    </a:lnTo>
                    <a:lnTo>
                      <a:pt x="196" y="533"/>
                    </a:lnTo>
                    <a:lnTo>
                      <a:pt x="187" y="527"/>
                    </a:lnTo>
                    <a:lnTo>
                      <a:pt x="179" y="520"/>
                    </a:lnTo>
                    <a:lnTo>
                      <a:pt x="175" y="515"/>
                    </a:lnTo>
                    <a:lnTo>
                      <a:pt x="172" y="512"/>
                    </a:lnTo>
                    <a:lnTo>
                      <a:pt x="167" y="508"/>
                    </a:lnTo>
                    <a:lnTo>
                      <a:pt x="164" y="503"/>
                    </a:lnTo>
                    <a:lnTo>
                      <a:pt x="164" y="503"/>
                    </a:lnTo>
                    <a:lnTo>
                      <a:pt x="164" y="503"/>
                    </a:lnTo>
                    <a:lnTo>
                      <a:pt x="161" y="499"/>
                    </a:lnTo>
                    <a:lnTo>
                      <a:pt x="157" y="494"/>
                    </a:lnTo>
                    <a:lnTo>
                      <a:pt x="154" y="491"/>
                    </a:lnTo>
                    <a:lnTo>
                      <a:pt x="151" y="485"/>
                    </a:lnTo>
                    <a:lnTo>
                      <a:pt x="148" y="482"/>
                    </a:lnTo>
                    <a:lnTo>
                      <a:pt x="143" y="476"/>
                    </a:lnTo>
                    <a:lnTo>
                      <a:pt x="139" y="467"/>
                    </a:lnTo>
                    <a:lnTo>
                      <a:pt x="133" y="458"/>
                    </a:lnTo>
                    <a:lnTo>
                      <a:pt x="128" y="448"/>
                    </a:lnTo>
                    <a:lnTo>
                      <a:pt x="124" y="438"/>
                    </a:lnTo>
                    <a:lnTo>
                      <a:pt x="124" y="438"/>
                    </a:lnTo>
                    <a:lnTo>
                      <a:pt x="124" y="438"/>
                    </a:lnTo>
                    <a:lnTo>
                      <a:pt x="121" y="432"/>
                    </a:lnTo>
                    <a:lnTo>
                      <a:pt x="119" y="427"/>
                    </a:lnTo>
                    <a:lnTo>
                      <a:pt x="119" y="427"/>
                    </a:lnTo>
                    <a:lnTo>
                      <a:pt x="119" y="427"/>
                    </a:lnTo>
                    <a:lnTo>
                      <a:pt x="118" y="421"/>
                    </a:lnTo>
                    <a:lnTo>
                      <a:pt x="116" y="415"/>
                    </a:lnTo>
                    <a:lnTo>
                      <a:pt x="115" y="411"/>
                    </a:lnTo>
                    <a:lnTo>
                      <a:pt x="113" y="405"/>
                    </a:lnTo>
                    <a:lnTo>
                      <a:pt x="113" y="405"/>
                    </a:lnTo>
                    <a:lnTo>
                      <a:pt x="113" y="405"/>
                    </a:lnTo>
                    <a:lnTo>
                      <a:pt x="112" y="399"/>
                    </a:lnTo>
                    <a:lnTo>
                      <a:pt x="110" y="394"/>
                    </a:lnTo>
                    <a:lnTo>
                      <a:pt x="110" y="393"/>
                    </a:lnTo>
                    <a:lnTo>
                      <a:pt x="110" y="391"/>
                    </a:lnTo>
                    <a:lnTo>
                      <a:pt x="109" y="388"/>
                    </a:lnTo>
                    <a:lnTo>
                      <a:pt x="109" y="384"/>
                    </a:lnTo>
                    <a:lnTo>
                      <a:pt x="109" y="382"/>
                    </a:lnTo>
                    <a:lnTo>
                      <a:pt x="109" y="381"/>
                    </a:lnTo>
                    <a:lnTo>
                      <a:pt x="109" y="381"/>
                    </a:lnTo>
                    <a:lnTo>
                      <a:pt x="109" y="381"/>
                    </a:lnTo>
                    <a:lnTo>
                      <a:pt x="107" y="375"/>
                    </a:lnTo>
                    <a:lnTo>
                      <a:pt x="107" y="370"/>
                    </a:lnTo>
                    <a:lnTo>
                      <a:pt x="107" y="370"/>
                    </a:lnTo>
                    <a:lnTo>
                      <a:pt x="107" y="369"/>
                    </a:lnTo>
                    <a:lnTo>
                      <a:pt x="106" y="364"/>
                    </a:lnTo>
                    <a:lnTo>
                      <a:pt x="106" y="358"/>
                    </a:lnTo>
                    <a:lnTo>
                      <a:pt x="106" y="358"/>
                    </a:lnTo>
                    <a:lnTo>
                      <a:pt x="106" y="358"/>
                    </a:lnTo>
                    <a:lnTo>
                      <a:pt x="106" y="352"/>
                    </a:lnTo>
                    <a:lnTo>
                      <a:pt x="106" y="346"/>
                    </a:lnTo>
                    <a:lnTo>
                      <a:pt x="106" y="340"/>
                    </a:lnTo>
                    <a:lnTo>
                      <a:pt x="106" y="334"/>
                    </a:lnTo>
                    <a:lnTo>
                      <a:pt x="106" y="328"/>
                    </a:lnTo>
                    <a:lnTo>
                      <a:pt x="107" y="322"/>
                    </a:lnTo>
                    <a:lnTo>
                      <a:pt x="107" y="322"/>
                    </a:lnTo>
                    <a:lnTo>
                      <a:pt x="107" y="316"/>
                    </a:lnTo>
                    <a:lnTo>
                      <a:pt x="109" y="310"/>
                    </a:lnTo>
                    <a:lnTo>
                      <a:pt x="109" y="310"/>
                    </a:lnTo>
                    <a:lnTo>
                      <a:pt x="109" y="304"/>
                    </a:lnTo>
                    <a:lnTo>
                      <a:pt x="110" y="298"/>
                    </a:lnTo>
                    <a:lnTo>
                      <a:pt x="110" y="298"/>
                    </a:lnTo>
                    <a:lnTo>
                      <a:pt x="110" y="298"/>
                    </a:lnTo>
                    <a:lnTo>
                      <a:pt x="112" y="292"/>
                    </a:lnTo>
                    <a:lnTo>
                      <a:pt x="113" y="288"/>
                    </a:lnTo>
                    <a:lnTo>
                      <a:pt x="113" y="288"/>
                    </a:lnTo>
                    <a:lnTo>
                      <a:pt x="113" y="288"/>
                    </a:lnTo>
                    <a:lnTo>
                      <a:pt x="115" y="282"/>
                    </a:lnTo>
                    <a:lnTo>
                      <a:pt x="116" y="276"/>
                    </a:lnTo>
                    <a:lnTo>
                      <a:pt x="116" y="276"/>
                    </a:lnTo>
                    <a:lnTo>
                      <a:pt x="116" y="276"/>
                    </a:lnTo>
                    <a:lnTo>
                      <a:pt x="118" y="270"/>
                    </a:lnTo>
                    <a:lnTo>
                      <a:pt x="119" y="265"/>
                    </a:lnTo>
                    <a:lnTo>
                      <a:pt x="121" y="261"/>
                    </a:lnTo>
                    <a:lnTo>
                      <a:pt x="122" y="256"/>
                    </a:lnTo>
                    <a:lnTo>
                      <a:pt x="122" y="256"/>
                    </a:lnTo>
                    <a:lnTo>
                      <a:pt x="122" y="256"/>
                    </a:lnTo>
                    <a:lnTo>
                      <a:pt x="124" y="255"/>
                    </a:lnTo>
                    <a:lnTo>
                      <a:pt x="124" y="252"/>
                    </a:lnTo>
                    <a:lnTo>
                      <a:pt x="125" y="249"/>
                    </a:lnTo>
                    <a:lnTo>
                      <a:pt x="127" y="246"/>
                    </a:lnTo>
                    <a:lnTo>
                      <a:pt x="128" y="244"/>
                    </a:lnTo>
                    <a:lnTo>
                      <a:pt x="128" y="243"/>
                    </a:lnTo>
                    <a:lnTo>
                      <a:pt x="130" y="238"/>
                    </a:lnTo>
                    <a:lnTo>
                      <a:pt x="133" y="234"/>
                    </a:lnTo>
                    <a:lnTo>
                      <a:pt x="133" y="234"/>
                    </a:lnTo>
                    <a:lnTo>
                      <a:pt x="133" y="234"/>
                    </a:lnTo>
                    <a:lnTo>
                      <a:pt x="136" y="229"/>
                    </a:lnTo>
                    <a:lnTo>
                      <a:pt x="139" y="225"/>
                    </a:lnTo>
                    <a:lnTo>
                      <a:pt x="140" y="219"/>
                    </a:lnTo>
                    <a:lnTo>
                      <a:pt x="143" y="214"/>
                    </a:lnTo>
                    <a:lnTo>
                      <a:pt x="148" y="210"/>
                    </a:lnTo>
                    <a:lnTo>
                      <a:pt x="151" y="205"/>
                    </a:lnTo>
                    <a:lnTo>
                      <a:pt x="151" y="205"/>
                    </a:lnTo>
                    <a:lnTo>
                      <a:pt x="151" y="205"/>
                    </a:lnTo>
                    <a:lnTo>
                      <a:pt x="154" y="201"/>
                    </a:lnTo>
                    <a:lnTo>
                      <a:pt x="157" y="196"/>
                    </a:lnTo>
                    <a:lnTo>
                      <a:pt x="157" y="196"/>
                    </a:lnTo>
                    <a:lnTo>
                      <a:pt x="157" y="196"/>
                    </a:lnTo>
                    <a:lnTo>
                      <a:pt x="161" y="192"/>
                    </a:lnTo>
                    <a:lnTo>
                      <a:pt x="164" y="188"/>
                    </a:lnTo>
                    <a:lnTo>
                      <a:pt x="170" y="182"/>
                    </a:lnTo>
                    <a:lnTo>
                      <a:pt x="181" y="170"/>
                    </a:lnTo>
                    <a:lnTo>
                      <a:pt x="187" y="165"/>
                    </a:lnTo>
                    <a:lnTo>
                      <a:pt x="196" y="158"/>
                    </a:lnTo>
                    <a:lnTo>
                      <a:pt x="214" y="146"/>
                    </a:lnTo>
                    <a:lnTo>
                      <a:pt x="223" y="140"/>
                    </a:lnTo>
                    <a:lnTo>
                      <a:pt x="233" y="134"/>
                    </a:lnTo>
                    <a:lnTo>
                      <a:pt x="242" y="129"/>
                    </a:lnTo>
                    <a:lnTo>
                      <a:pt x="253" y="125"/>
                    </a:lnTo>
                    <a:lnTo>
                      <a:pt x="263" y="122"/>
                    </a:lnTo>
                    <a:lnTo>
                      <a:pt x="269" y="120"/>
                    </a:lnTo>
                    <a:lnTo>
                      <a:pt x="273" y="119"/>
                    </a:lnTo>
                    <a:lnTo>
                      <a:pt x="284" y="116"/>
                    </a:lnTo>
                    <a:lnTo>
                      <a:pt x="306" y="113"/>
                    </a:lnTo>
                    <a:lnTo>
                      <a:pt x="318" y="111"/>
                    </a:lnTo>
                    <a:lnTo>
                      <a:pt x="324" y="111"/>
                    </a:lnTo>
                    <a:lnTo>
                      <a:pt x="330" y="111"/>
                    </a:lnTo>
                    <a:lnTo>
                      <a:pt x="330" y="111"/>
                    </a:lnTo>
                    <a:close/>
                  </a:path>
                </a:pathLst>
              </a:custGeom>
              <a:grpFill/>
              <a:ln>
                <a:noFill/>
              </a:ln>
            </p:spPr>
            <p:txBody>
              <a:bodyPr vert="horz" wrap="square" lIns="91440" tIns="45720" rIns="91440" bIns="45720" numCol="1" anchor="t" anchorCtr="0" compatLnSpc="1">
                <a:prstTxWarp prst="textNoShape">
                  <a:avLst/>
                </a:prstTxWarp>
              </a:bodyPr>
              <a:lstStyle/>
              <a:p>
                <a:endParaRPr lang="de-DE" dirty="0">
                  <a:solidFill>
                    <a:schemeClr val="accent6">
                      <a:lumMod val="75000"/>
                    </a:schemeClr>
                  </a:solidFill>
                </a:endParaRPr>
              </a:p>
            </p:txBody>
          </p:sp>
          <p:sp>
            <p:nvSpPr>
              <p:cNvPr id="42" name="Freeform 5">
                <a:extLst>
                  <a:ext uri="{FF2B5EF4-FFF2-40B4-BE49-F238E27FC236}">
                    <a16:creationId xmlns:a16="http://schemas.microsoft.com/office/drawing/2014/main" xmlns="" id="{3639E839-5473-4FB6-8D70-093CEF2EBA59}"/>
                  </a:ext>
                </a:extLst>
              </p:cNvPr>
              <p:cNvSpPr>
                <a:spLocks noChangeAspect="1" noEditPoints="1"/>
              </p:cNvSpPr>
              <p:nvPr/>
            </p:nvSpPr>
            <p:spPr bwMode="auto">
              <a:xfrm rot="21278462">
                <a:off x="1594277" y="2375017"/>
                <a:ext cx="1348749" cy="1331516"/>
              </a:xfrm>
              <a:custGeom>
                <a:avLst/>
                <a:gdLst>
                  <a:gd name="T0" fmla="*/ 290 w 699"/>
                  <a:gd name="T1" fmla="*/ 147 h 700"/>
                  <a:gd name="T2" fmla="*/ 257 w 699"/>
                  <a:gd name="T3" fmla="*/ 159 h 700"/>
                  <a:gd name="T4" fmla="*/ 130 w 699"/>
                  <a:gd name="T5" fmla="*/ 75 h 700"/>
                  <a:gd name="T6" fmla="*/ 163 w 699"/>
                  <a:gd name="T7" fmla="*/ 249 h 700"/>
                  <a:gd name="T8" fmla="*/ 150 w 699"/>
                  <a:gd name="T9" fmla="*/ 280 h 700"/>
                  <a:gd name="T10" fmla="*/ 0 w 699"/>
                  <a:gd name="T11" fmla="*/ 312 h 700"/>
                  <a:gd name="T12" fmla="*/ 147 w 699"/>
                  <a:gd name="T13" fmla="*/ 411 h 700"/>
                  <a:gd name="T14" fmla="*/ 159 w 699"/>
                  <a:gd name="T15" fmla="*/ 442 h 700"/>
                  <a:gd name="T16" fmla="*/ 75 w 699"/>
                  <a:gd name="T17" fmla="*/ 569 h 700"/>
                  <a:gd name="T18" fmla="*/ 248 w 699"/>
                  <a:gd name="T19" fmla="*/ 536 h 700"/>
                  <a:gd name="T20" fmla="*/ 278 w 699"/>
                  <a:gd name="T21" fmla="*/ 550 h 700"/>
                  <a:gd name="T22" fmla="*/ 310 w 699"/>
                  <a:gd name="T23" fmla="*/ 700 h 700"/>
                  <a:gd name="T24" fmla="*/ 409 w 699"/>
                  <a:gd name="T25" fmla="*/ 554 h 700"/>
                  <a:gd name="T26" fmla="*/ 442 w 699"/>
                  <a:gd name="T27" fmla="*/ 541 h 700"/>
                  <a:gd name="T28" fmla="*/ 569 w 699"/>
                  <a:gd name="T29" fmla="*/ 625 h 700"/>
                  <a:gd name="T30" fmla="*/ 536 w 699"/>
                  <a:gd name="T31" fmla="*/ 453 h 700"/>
                  <a:gd name="T32" fmla="*/ 549 w 699"/>
                  <a:gd name="T33" fmla="*/ 421 h 700"/>
                  <a:gd name="T34" fmla="*/ 699 w 699"/>
                  <a:gd name="T35" fmla="*/ 390 h 700"/>
                  <a:gd name="T36" fmla="*/ 552 w 699"/>
                  <a:gd name="T37" fmla="*/ 291 h 700"/>
                  <a:gd name="T38" fmla="*/ 540 w 699"/>
                  <a:gd name="T39" fmla="*/ 259 h 700"/>
                  <a:gd name="T40" fmla="*/ 624 w 699"/>
                  <a:gd name="T41" fmla="*/ 131 h 700"/>
                  <a:gd name="T42" fmla="*/ 451 w 699"/>
                  <a:gd name="T43" fmla="*/ 165 h 700"/>
                  <a:gd name="T44" fmla="*/ 419 w 699"/>
                  <a:gd name="T45" fmla="*/ 152 h 700"/>
                  <a:gd name="T46" fmla="*/ 389 w 699"/>
                  <a:gd name="T47" fmla="*/ 0 h 700"/>
                  <a:gd name="T48" fmla="*/ 308 w 699"/>
                  <a:gd name="T49" fmla="*/ 2 h 700"/>
                  <a:gd name="T50" fmla="*/ 503 w 699"/>
                  <a:gd name="T51" fmla="*/ 358 h 700"/>
                  <a:gd name="T52" fmla="*/ 498 w 699"/>
                  <a:gd name="T53" fmla="*/ 390 h 700"/>
                  <a:gd name="T54" fmla="*/ 488 w 699"/>
                  <a:gd name="T55" fmla="*/ 417 h 700"/>
                  <a:gd name="T56" fmla="*/ 473 w 699"/>
                  <a:gd name="T57" fmla="*/ 442 h 700"/>
                  <a:gd name="T58" fmla="*/ 454 w 699"/>
                  <a:gd name="T59" fmla="*/ 464 h 700"/>
                  <a:gd name="T60" fmla="*/ 430 w 699"/>
                  <a:gd name="T61" fmla="*/ 482 h 700"/>
                  <a:gd name="T62" fmla="*/ 403 w 699"/>
                  <a:gd name="T63" fmla="*/ 496 h 700"/>
                  <a:gd name="T64" fmla="*/ 373 w 699"/>
                  <a:gd name="T65" fmla="*/ 503 h 700"/>
                  <a:gd name="T66" fmla="*/ 349 w 699"/>
                  <a:gd name="T67" fmla="*/ 505 h 700"/>
                  <a:gd name="T68" fmla="*/ 326 w 699"/>
                  <a:gd name="T69" fmla="*/ 503 h 700"/>
                  <a:gd name="T70" fmla="*/ 296 w 699"/>
                  <a:gd name="T71" fmla="*/ 496 h 700"/>
                  <a:gd name="T72" fmla="*/ 269 w 699"/>
                  <a:gd name="T73" fmla="*/ 482 h 700"/>
                  <a:gd name="T74" fmla="*/ 245 w 699"/>
                  <a:gd name="T75" fmla="*/ 464 h 700"/>
                  <a:gd name="T76" fmla="*/ 226 w 699"/>
                  <a:gd name="T77" fmla="*/ 442 h 700"/>
                  <a:gd name="T78" fmla="*/ 211 w 699"/>
                  <a:gd name="T79" fmla="*/ 417 h 700"/>
                  <a:gd name="T80" fmla="*/ 201 w 699"/>
                  <a:gd name="T81" fmla="*/ 390 h 700"/>
                  <a:gd name="T82" fmla="*/ 196 w 699"/>
                  <a:gd name="T83" fmla="*/ 358 h 700"/>
                  <a:gd name="T84" fmla="*/ 196 w 699"/>
                  <a:gd name="T85" fmla="*/ 342 h 700"/>
                  <a:gd name="T86" fmla="*/ 201 w 699"/>
                  <a:gd name="T87" fmla="*/ 312 h 700"/>
                  <a:gd name="T88" fmla="*/ 211 w 699"/>
                  <a:gd name="T89" fmla="*/ 283 h 700"/>
                  <a:gd name="T90" fmla="*/ 226 w 699"/>
                  <a:gd name="T91" fmla="*/ 258 h 700"/>
                  <a:gd name="T92" fmla="*/ 245 w 699"/>
                  <a:gd name="T93" fmla="*/ 237 h 700"/>
                  <a:gd name="T94" fmla="*/ 269 w 699"/>
                  <a:gd name="T95" fmla="*/ 219 h 700"/>
                  <a:gd name="T96" fmla="*/ 296 w 699"/>
                  <a:gd name="T97" fmla="*/ 206 h 700"/>
                  <a:gd name="T98" fmla="*/ 326 w 699"/>
                  <a:gd name="T99" fmla="*/ 198 h 700"/>
                  <a:gd name="T100" fmla="*/ 349 w 699"/>
                  <a:gd name="T101" fmla="*/ 197 h 700"/>
                  <a:gd name="T102" fmla="*/ 373 w 699"/>
                  <a:gd name="T103" fmla="*/ 198 h 700"/>
                  <a:gd name="T104" fmla="*/ 403 w 699"/>
                  <a:gd name="T105" fmla="*/ 206 h 700"/>
                  <a:gd name="T106" fmla="*/ 430 w 699"/>
                  <a:gd name="T107" fmla="*/ 219 h 700"/>
                  <a:gd name="T108" fmla="*/ 454 w 699"/>
                  <a:gd name="T109" fmla="*/ 237 h 700"/>
                  <a:gd name="T110" fmla="*/ 473 w 699"/>
                  <a:gd name="T111" fmla="*/ 258 h 700"/>
                  <a:gd name="T112" fmla="*/ 488 w 699"/>
                  <a:gd name="T113" fmla="*/ 283 h 700"/>
                  <a:gd name="T114" fmla="*/ 498 w 699"/>
                  <a:gd name="T115" fmla="*/ 312 h 700"/>
                  <a:gd name="T116" fmla="*/ 503 w 699"/>
                  <a:gd name="T117" fmla="*/ 342 h 700"/>
                  <a:gd name="T118" fmla="*/ 503 w 699"/>
                  <a:gd name="T119" fmla="*/ 35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9" h="700">
                    <a:moveTo>
                      <a:pt x="308" y="2"/>
                    </a:moveTo>
                    <a:lnTo>
                      <a:pt x="290" y="147"/>
                    </a:lnTo>
                    <a:lnTo>
                      <a:pt x="278" y="152"/>
                    </a:lnTo>
                    <a:lnTo>
                      <a:pt x="257" y="159"/>
                    </a:lnTo>
                    <a:lnTo>
                      <a:pt x="248" y="165"/>
                    </a:lnTo>
                    <a:lnTo>
                      <a:pt x="130" y="75"/>
                    </a:lnTo>
                    <a:lnTo>
                      <a:pt x="73" y="132"/>
                    </a:lnTo>
                    <a:lnTo>
                      <a:pt x="163" y="249"/>
                    </a:lnTo>
                    <a:lnTo>
                      <a:pt x="159" y="259"/>
                    </a:lnTo>
                    <a:lnTo>
                      <a:pt x="150" y="280"/>
                    </a:lnTo>
                    <a:lnTo>
                      <a:pt x="147" y="291"/>
                    </a:lnTo>
                    <a:lnTo>
                      <a:pt x="0" y="312"/>
                    </a:lnTo>
                    <a:lnTo>
                      <a:pt x="0" y="391"/>
                    </a:lnTo>
                    <a:lnTo>
                      <a:pt x="147" y="411"/>
                    </a:lnTo>
                    <a:lnTo>
                      <a:pt x="150" y="421"/>
                    </a:lnTo>
                    <a:lnTo>
                      <a:pt x="159" y="442"/>
                    </a:lnTo>
                    <a:lnTo>
                      <a:pt x="163" y="453"/>
                    </a:lnTo>
                    <a:lnTo>
                      <a:pt x="75" y="569"/>
                    </a:lnTo>
                    <a:lnTo>
                      <a:pt x="132" y="626"/>
                    </a:lnTo>
                    <a:lnTo>
                      <a:pt x="248" y="536"/>
                    </a:lnTo>
                    <a:lnTo>
                      <a:pt x="257" y="542"/>
                    </a:lnTo>
                    <a:lnTo>
                      <a:pt x="278" y="550"/>
                    </a:lnTo>
                    <a:lnTo>
                      <a:pt x="290" y="554"/>
                    </a:lnTo>
                    <a:lnTo>
                      <a:pt x="310" y="700"/>
                    </a:lnTo>
                    <a:lnTo>
                      <a:pt x="391" y="700"/>
                    </a:lnTo>
                    <a:lnTo>
                      <a:pt x="409" y="554"/>
                    </a:lnTo>
                    <a:lnTo>
                      <a:pt x="421" y="550"/>
                    </a:lnTo>
                    <a:lnTo>
                      <a:pt x="442" y="541"/>
                    </a:lnTo>
                    <a:lnTo>
                      <a:pt x="451" y="536"/>
                    </a:lnTo>
                    <a:lnTo>
                      <a:pt x="569" y="625"/>
                    </a:lnTo>
                    <a:lnTo>
                      <a:pt x="626" y="568"/>
                    </a:lnTo>
                    <a:lnTo>
                      <a:pt x="536" y="453"/>
                    </a:lnTo>
                    <a:lnTo>
                      <a:pt x="540" y="442"/>
                    </a:lnTo>
                    <a:lnTo>
                      <a:pt x="549" y="421"/>
                    </a:lnTo>
                    <a:lnTo>
                      <a:pt x="552" y="411"/>
                    </a:lnTo>
                    <a:lnTo>
                      <a:pt x="699" y="390"/>
                    </a:lnTo>
                    <a:lnTo>
                      <a:pt x="699" y="310"/>
                    </a:lnTo>
                    <a:lnTo>
                      <a:pt x="552" y="291"/>
                    </a:lnTo>
                    <a:lnTo>
                      <a:pt x="549" y="280"/>
                    </a:lnTo>
                    <a:lnTo>
                      <a:pt x="540" y="259"/>
                    </a:lnTo>
                    <a:lnTo>
                      <a:pt x="534" y="249"/>
                    </a:lnTo>
                    <a:lnTo>
                      <a:pt x="624" y="131"/>
                    </a:lnTo>
                    <a:lnTo>
                      <a:pt x="567" y="75"/>
                    </a:lnTo>
                    <a:lnTo>
                      <a:pt x="451" y="165"/>
                    </a:lnTo>
                    <a:lnTo>
                      <a:pt x="440" y="159"/>
                    </a:lnTo>
                    <a:lnTo>
                      <a:pt x="419" y="152"/>
                    </a:lnTo>
                    <a:lnTo>
                      <a:pt x="409" y="147"/>
                    </a:lnTo>
                    <a:lnTo>
                      <a:pt x="389" y="0"/>
                    </a:lnTo>
                    <a:lnTo>
                      <a:pt x="308" y="2"/>
                    </a:lnTo>
                    <a:lnTo>
                      <a:pt x="308" y="2"/>
                    </a:lnTo>
                    <a:close/>
                    <a:moveTo>
                      <a:pt x="503" y="351"/>
                    </a:moveTo>
                    <a:lnTo>
                      <a:pt x="503" y="358"/>
                    </a:lnTo>
                    <a:lnTo>
                      <a:pt x="501" y="375"/>
                    </a:lnTo>
                    <a:lnTo>
                      <a:pt x="498" y="390"/>
                    </a:lnTo>
                    <a:lnTo>
                      <a:pt x="494" y="403"/>
                    </a:lnTo>
                    <a:lnTo>
                      <a:pt x="488" y="417"/>
                    </a:lnTo>
                    <a:lnTo>
                      <a:pt x="482" y="430"/>
                    </a:lnTo>
                    <a:lnTo>
                      <a:pt x="473" y="442"/>
                    </a:lnTo>
                    <a:lnTo>
                      <a:pt x="464" y="454"/>
                    </a:lnTo>
                    <a:lnTo>
                      <a:pt x="454" y="464"/>
                    </a:lnTo>
                    <a:lnTo>
                      <a:pt x="442" y="473"/>
                    </a:lnTo>
                    <a:lnTo>
                      <a:pt x="430" y="482"/>
                    </a:lnTo>
                    <a:lnTo>
                      <a:pt x="416" y="490"/>
                    </a:lnTo>
                    <a:lnTo>
                      <a:pt x="403" y="496"/>
                    </a:lnTo>
                    <a:lnTo>
                      <a:pt x="388" y="500"/>
                    </a:lnTo>
                    <a:lnTo>
                      <a:pt x="373" y="503"/>
                    </a:lnTo>
                    <a:lnTo>
                      <a:pt x="358" y="505"/>
                    </a:lnTo>
                    <a:lnTo>
                      <a:pt x="349" y="505"/>
                    </a:lnTo>
                    <a:lnTo>
                      <a:pt x="341" y="505"/>
                    </a:lnTo>
                    <a:lnTo>
                      <a:pt x="326" y="503"/>
                    </a:lnTo>
                    <a:lnTo>
                      <a:pt x="311" y="500"/>
                    </a:lnTo>
                    <a:lnTo>
                      <a:pt x="296" y="496"/>
                    </a:lnTo>
                    <a:lnTo>
                      <a:pt x="283" y="490"/>
                    </a:lnTo>
                    <a:lnTo>
                      <a:pt x="269" y="482"/>
                    </a:lnTo>
                    <a:lnTo>
                      <a:pt x="257" y="473"/>
                    </a:lnTo>
                    <a:lnTo>
                      <a:pt x="245" y="464"/>
                    </a:lnTo>
                    <a:lnTo>
                      <a:pt x="235" y="454"/>
                    </a:lnTo>
                    <a:lnTo>
                      <a:pt x="226" y="442"/>
                    </a:lnTo>
                    <a:lnTo>
                      <a:pt x="217" y="430"/>
                    </a:lnTo>
                    <a:lnTo>
                      <a:pt x="211" y="417"/>
                    </a:lnTo>
                    <a:lnTo>
                      <a:pt x="205" y="403"/>
                    </a:lnTo>
                    <a:lnTo>
                      <a:pt x="201" y="390"/>
                    </a:lnTo>
                    <a:lnTo>
                      <a:pt x="198" y="375"/>
                    </a:lnTo>
                    <a:lnTo>
                      <a:pt x="196" y="358"/>
                    </a:lnTo>
                    <a:lnTo>
                      <a:pt x="195" y="351"/>
                    </a:lnTo>
                    <a:lnTo>
                      <a:pt x="196" y="342"/>
                    </a:lnTo>
                    <a:lnTo>
                      <a:pt x="198" y="327"/>
                    </a:lnTo>
                    <a:lnTo>
                      <a:pt x="201" y="312"/>
                    </a:lnTo>
                    <a:lnTo>
                      <a:pt x="205" y="297"/>
                    </a:lnTo>
                    <a:lnTo>
                      <a:pt x="211" y="283"/>
                    </a:lnTo>
                    <a:lnTo>
                      <a:pt x="217" y="270"/>
                    </a:lnTo>
                    <a:lnTo>
                      <a:pt x="226" y="258"/>
                    </a:lnTo>
                    <a:lnTo>
                      <a:pt x="235" y="247"/>
                    </a:lnTo>
                    <a:lnTo>
                      <a:pt x="245" y="237"/>
                    </a:lnTo>
                    <a:lnTo>
                      <a:pt x="257" y="226"/>
                    </a:lnTo>
                    <a:lnTo>
                      <a:pt x="269" y="219"/>
                    </a:lnTo>
                    <a:lnTo>
                      <a:pt x="283" y="212"/>
                    </a:lnTo>
                    <a:lnTo>
                      <a:pt x="296" y="206"/>
                    </a:lnTo>
                    <a:lnTo>
                      <a:pt x="311" y="201"/>
                    </a:lnTo>
                    <a:lnTo>
                      <a:pt x="326" y="198"/>
                    </a:lnTo>
                    <a:lnTo>
                      <a:pt x="341" y="197"/>
                    </a:lnTo>
                    <a:lnTo>
                      <a:pt x="349" y="197"/>
                    </a:lnTo>
                    <a:lnTo>
                      <a:pt x="358" y="197"/>
                    </a:lnTo>
                    <a:lnTo>
                      <a:pt x="373" y="198"/>
                    </a:lnTo>
                    <a:lnTo>
                      <a:pt x="388" y="201"/>
                    </a:lnTo>
                    <a:lnTo>
                      <a:pt x="403" y="206"/>
                    </a:lnTo>
                    <a:lnTo>
                      <a:pt x="416" y="212"/>
                    </a:lnTo>
                    <a:lnTo>
                      <a:pt x="430" y="219"/>
                    </a:lnTo>
                    <a:lnTo>
                      <a:pt x="442" y="226"/>
                    </a:lnTo>
                    <a:lnTo>
                      <a:pt x="454" y="237"/>
                    </a:lnTo>
                    <a:lnTo>
                      <a:pt x="464" y="247"/>
                    </a:lnTo>
                    <a:lnTo>
                      <a:pt x="473" y="258"/>
                    </a:lnTo>
                    <a:lnTo>
                      <a:pt x="482" y="270"/>
                    </a:lnTo>
                    <a:lnTo>
                      <a:pt x="488" y="283"/>
                    </a:lnTo>
                    <a:lnTo>
                      <a:pt x="494" y="297"/>
                    </a:lnTo>
                    <a:lnTo>
                      <a:pt x="498" y="312"/>
                    </a:lnTo>
                    <a:lnTo>
                      <a:pt x="501" y="327"/>
                    </a:lnTo>
                    <a:lnTo>
                      <a:pt x="503" y="342"/>
                    </a:lnTo>
                    <a:lnTo>
                      <a:pt x="503" y="351"/>
                    </a:lnTo>
                    <a:lnTo>
                      <a:pt x="503" y="351"/>
                    </a:lnTo>
                    <a:close/>
                  </a:path>
                </a:pathLst>
              </a:custGeom>
              <a:grpFill/>
              <a:ln>
                <a:noFill/>
              </a:ln>
            </p:spPr>
            <p:txBody>
              <a:bodyPr vert="horz" wrap="square" lIns="91440" tIns="45720" rIns="91440" bIns="45720" numCol="1" anchor="t" anchorCtr="0" compatLnSpc="1">
                <a:prstTxWarp prst="textNoShape">
                  <a:avLst/>
                </a:prstTxWarp>
              </a:bodyPr>
              <a:lstStyle/>
              <a:p>
                <a:endParaRPr lang="de-DE" dirty="0"/>
              </a:p>
            </p:txBody>
          </p:sp>
        </p:grpSp>
      </p:grpSp>
      <p:sp>
        <p:nvSpPr>
          <p:cNvPr id="15" name="Titel 2"/>
          <p:cNvSpPr txBox="1">
            <a:spLocks/>
          </p:cNvSpPr>
          <p:nvPr/>
        </p:nvSpPr>
        <p:spPr>
          <a:xfrm>
            <a:off x="451972" y="653069"/>
            <a:ext cx="10918074" cy="576064"/>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spcAft>
                <a:spcPts val="600"/>
              </a:spcAft>
            </a:pPr>
            <a:r>
              <a:rPr lang="de-DE" dirty="0"/>
              <a:t>In der Verantwortung der Organe der Kirchengemeinden, Dekanate und kirchlichen Verbände liegt …</a:t>
            </a:r>
          </a:p>
        </p:txBody>
      </p:sp>
      <p:sp>
        <p:nvSpPr>
          <p:cNvPr id="7" name="Datumsplatzhalter 6"/>
          <p:cNvSpPr>
            <a:spLocks noGrp="1"/>
          </p:cNvSpPr>
          <p:nvPr>
            <p:ph type="dt" sz="half" idx="10"/>
          </p:nvPr>
        </p:nvSpPr>
        <p:spPr/>
        <p:txBody>
          <a:bodyPr/>
          <a:lstStyle/>
          <a:p>
            <a:pPr>
              <a:defRPr/>
            </a:pPr>
            <a:fld id="{C010BD2F-DEDC-4D5B-9C9C-7B2864D099A2}" type="datetime1">
              <a:rPr lang="de-DE" altLang="en-US" smtClean="0"/>
              <a:t>06.07.2021</a:t>
            </a:fld>
            <a:endParaRPr lang="de-DE" altLang="en-US"/>
          </a:p>
        </p:txBody>
      </p:sp>
      <p:sp>
        <p:nvSpPr>
          <p:cNvPr id="8" name="Foliennummernplatzhalter 7"/>
          <p:cNvSpPr>
            <a:spLocks noGrp="1"/>
          </p:cNvSpPr>
          <p:nvPr>
            <p:ph type="sldNum" sz="quarter" idx="12"/>
          </p:nvPr>
        </p:nvSpPr>
        <p:spPr/>
        <p:txBody>
          <a:bodyPr/>
          <a:lstStyle/>
          <a:p>
            <a:pPr>
              <a:defRPr/>
            </a:pPr>
            <a:fld id="{10C5E703-D0E0-4917-81EE-20874279E3D4}" type="slidenum">
              <a:rPr lang="de-DE" altLang="en-US" smtClean="0"/>
              <a:pPr>
                <a:defRPr/>
              </a:pPr>
              <a:t>18</a:t>
            </a:fld>
            <a:endParaRPr lang="de-DE" altLang="en-US"/>
          </a:p>
        </p:txBody>
      </p:sp>
    </p:spTree>
    <p:extLst>
      <p:ext uri="{BB962C8B-B14F-4D97-AF65-F5344CB8AC3E}">
        <p14:creationId xmlns:p14="http://schemas.microsoft.com/office/powerpoint/2010/main" val="25466316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5530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19</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
        <p:nvSpPr>
          <p:cNvPr id="4" name="Rechteck 3"/>
          <p:cNvSpPr/>
          <p:nvPr/>
        </p:nvSpPr>
        <p:spPr>
          <a:xfrm>
            <a:off x="1936998" y="548680"/>
            <a:ext cx="8784976" cy="5262979"/>
          </a:xfrm>
          <a:prstGeom prst="rect">
            <a:avLst/>
          </a:prstGeom>
        </p:spPr>
        <p:txBody>
          <a:bodyPr wrap="square">
            <a:spAutoFit/>
          </a:bodyPr>
          <a:lstStyle/>
          <a:p>
            <a:r>
              <a:rPr lang="de-DE" sz="1600" b="1" dirty="0" smtClean="0"/>
              <a:t>Kirchliche Haushaltsordnung (KHO)</a:t>
            </a:r>
            <a:endParaRPr lang="de-DE" sz="1600" dirty="0"/>
          </a:p>
          <a:p>
            <a:r>
              <a:rPr lang="de-DE" sz="1600" b="1" dirty="0"/>
              <a:t>§ 36</a:t>
            </a:r>
            <a:br>
              <a:rPr lang="de-DE" sz="1600" b="1" dirty="0"/>
            </a:br>
            <a:r>
              <a:rPr lang="de-DE" sz="1600" b="1" dirty="0"/>
              <a:t>Aufgaben und Organisation, Einbindung Dritter</a:t>
            </a:r>
            <a:endParaRPr lang="de-DE" sz="1600" dirty="0"/>
          </a:p>
          <a:p>
            <a:r>
              <a:rPr lang="de-DE" sz="1600" dirty="0"/>
              <a:t>( 2 ) 1 Die Finanzbuchhaltung ist zentral einzurichten. 2 Sie hat den gesamten Zahlungsverkehr abzuwickeln und die Kassenführung wahrzunehmen, die Buchungen vorzunehmen, die Rechnungsbelege ordnungsgemäß abzulegen und die Rechnungslegung vorzubereiten.</a:t>
            </a:r>
          </a:p>
          <a:p>
            <a:r>
              <a:rPr lang="de-DE" sz="1600" dirty="0"/>
              <a:t>( 3 ) Weitere Finanzbuchhaltungen dürfen nur eingerichtet werden, wenn ein unabweisbarer Bedarf besteht bzw. wenn es aus wirtschaftlichen Gründen geboten erscheint.</a:t>
            </a:r>
          </a:p>
          <a:p>
            <a:r>
              <a:rPr lang="de-DE" sz="1600" dirty="0"/>
              <a:t>( 4 ) Die Aufgaben der Finanzbuchhaltung mehrerer Körperschaften sollen einer gemeinsamen Verwaltung übertragen werden.</a:t>
            </a:r>
          </a:p>
          <a:p>
            <a:r>
              <a:rPr lang="de-DE" sz="1600" dirty="0"/>
              <a:t> </a:t>
            </a:r>
          </a:p>
          <a:p>
            <a:r>
              <a:rPr lang="de-DE" sz="1600" b="1" dirty="0"/>
              <a:t>Rechtsverordnung über die Erhebung und Verwaltung von Kollekten, Spenden und Sammlungen (</a:t>
            </a:r>
            <a:r>
              <a:rPr lang="de-DE" sz="1600" dirty="0" err="1"/>
              <a:t>Kollektenverwaltungsordnung</a:t>
            </a:r>
            <a:r>
              <a:rPr lang="de-DE" sz="1600" b="1" dirty="0"/>
              <a:t> – </a:t>
            </a:r>
            <a:r>
              <a:rPr lang="de-DE" sz="1600" b="1" dirty="0" err="1"/>
              <a:t>KollVO</a:t>
            </a:r>
            <a:r>
              <a:rPr lang="de-DE" sz="1600" b="1" dirty="0"/>
              <a:t>)</a:t>
            </a:r>
            <a:endParaRPr lang="de-DE" sz="1600" dirty="0"/>
          </a:p>
          <a:p>
            <a:r>
              <a:rPr lang="de-DE" sz="1600" b="1" dirty="0"/>
              <a:t>§ 4</a:t>
            </a:r>
            <a:endParaRPr lang="de-DE" sz="1600" dirty="0"/>
          </a:p>
          <a:p>
            <a:r>
              <a:rPr lang="de-DE" sz="1600" dirty="0"/>
              <a:t>1 Die Kirchengemeinde kann für die Einnahme und Weiterleitung der Kollekten, Spenden und die Einnahmen von Sammlungen ein Konto bei einem inländischen Kreditinstitut unterhalten, das den Namen „</a:t>
            </a:r>
            <a:r>
              <a:rPr lang="de-DE" sz="1600" dirty="0" err="1"/>
              <a:t>Kollektenkonto</a:t>
            </a:r>
            <a:r>
              <a:rPr lang="de-DE" sz="1600" dirty="0"/>
              <a:t> der Evangelischen Kirchengemeinde“ unter Zusatz des Namens der Kirchengemeinde erhält. 2 Weitere </a:t>
            </a:r>
            <a:r>
              <a:rPr lang="de-DE" sz="1600" dirty="0" err="1"/>
              <a:t>Kollektenkonten</a:t>
            </a:r>
            <a:r>
              <a:rPr lang="de-DE" sz="1600" dirty="0"/>
              <a:t> einschließlich Sparkonten dürfen nur aus wichtigem Grund unterhalten werden. 3 Hierzu bedarf es der </a:t>
            </a:r>
            <a:r>
              <a:rPr lang="de-DE" sz="1600" dirty="0" err="1"/>
              <a:t>kirchenaufsichtlichen</a:t>
            </a:r>
            <a:r>
              <a:rPr lang="de-DE" sz="1600" dirty="0"/>
              <a:t> Genehmigung. 4 Bestehende weitere Konten sind, soweit keine Genehmigung erteilt wird, bis zum 31. Dezember 2021, jedoch nicht vor dem nächst möglichen Kündigungstermin, aufzulösen.</a:t>
            </a:r>
          </a:p>
        </p:txBody>
      </p:sp>
    </p:spTree>
    <p:extLst>
      <p:ext uri="{BB962C8B-B14F-4D97-AF65-F5344CB8AC3E}">
        <p14:creationId xmlns:p14="http://schemas.microsoft.com/office/powerpoint/2010/main" val="31926596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16AFF52-5909-4BEF-B028-738A0F083186}"/>
              </a:ext>
            </a:extLst>
          </p:cNvPr>
          <p:cNvGraphicFramePr>
            <a:graphicFrameLocks noChangeAspect="1"/>
          </p:cNvGraphicFramePr>
          <p:nvPr>
            <p:custDataLst>
              <p:tags r:id="rId2"/>
            </p:custDataLst>
            <p:extLst>
              <p:ext uri="{D42A27DB-BD31-4B8C-83A1-F6EECF244321}">
                <p14:modId xmlns:p14="http://schemas.microsoft.com/office/powerpoint/2010/main" val="2951114529"/>
              </p:ext>
            </p:ext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2154" name="think-cell Slide" r:id="rId5" imgW="338" imgH="344" progId="TCLayout.ActiveDocument.1">
                  <p:embed/>
                </p:oleObj>
              </mc:Choice>
              <mc:Fallback>
                <p:oleObj name="think-cell Slide" r:id="rId5" imgW="338" imgH="344"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xmlns="" id="{9B07319D-9412-41A5-8B92-3C058D7EA765}"/>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INFORMATIONSVERANSTALTUNG UMSATZSTEUER</a:t>
            </a:r>
          </a:p>
          <a:p>
            <a:endParaRPr lang="de-DE" dirty="0">
              <a:latin typeface="Calibri" panose="020F0502020204030204" pitchFamily="34" charset="0"/>
              <a:cs typeface="Calibri" panose="020F0502020204030204" pitchFamily="34" charset="0"/>
            </a:endParaRPr>
          </a:p>
          <a:p>
            <a:pPr>
              <a:spcAft>
                <a:spcPts val="600"/>
              </a:spcAft>
            </a:pPr>
            <a:endParaRPr lang="de-DE" sz="2800" dirty="0"/>
          </a:p>
          <a:p>
            <a:pPr>
              <a:spcAft>
                <a:spcPts val="600"/>
              </a:spcAft>
            </a:pPr>
            <a:endParaRPr lang="de-DE" sz="2800" dirty="0"/>
          </a:p>
        </p:txBody>
      </p:sp>
      <p:sp>
        <p:nvSpPr>
          <p:cNvPr id="28" name="Title 1">
            <a:extLst>
              <a:ext uri="{FF2B5EF4-FFF2-40B4-BE49-F238E27FC236}">
                <a16:creationId xmlns:a16="http://schemas.microsoft.com/office/drawing/2014/main" xmlns="" id="{B8CA7CF8-22F2-2348-80C5-1F33FF2FDD85}"/>
              </a:ext>
            </a:extLst>
          </p:cNvPr>
          <p:cNvSpPr txBox="1">
            <a:spLocks/>
          </p:cNvSpPr>
          <p:nvPr/>
        </p:nvSpPr>
        <p:spPr>
          <a:xfrm>
            <a:off x="444183" y="640080"/>
            <a:ext cx="11338561"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de-DE" dirty="0"/>
          </a:p>
        </p:txBody>
      </p:sp>
      <p:grpSp>
        <p:nvGrpSpPr>
          <p:cNvPr id="51" name="Group 50">
            <a:extLst>
              <a:ext uri="{FF2B5EF4-FFF2-40B4-BE49-F238E27FC236}">
                <a16:creationId xmlns:a16="http://schemas.microsoft.com/office/drawing/2014/main" xmlns="" id="{5395E155-2E71-415F-9DEF-4F1408FBD21E}"/>
              </a:ext>
            </a:extLst>
          </p:cNvPr>
          <p:cNvGrpSpPr/>
          <p:nvPr/>
        </p:nvGrpSpPr>
        <p:grpSpPr>
          <a:xfrm>
            <a:off x="480774" y="3248682"/>
            <a:ext cx="11318393" cy="576000"/>
            <a:chOff x="442912" y="2846337"/>
            <a:chExt cx="11301594" cy="576000"/>
          </a:xfrm>
        </p:grpSpPr>
        <p:sp>
          <p:nvSpPr>
            <p:cNvPr id="37" name="Content Placeholder 8">
              <a:extLst>
                <a:ext uri="{FF2B5EF4-FFF2-40B4-BE49-F238E27FC236}">
                  <a16:creationId xmlns:a16="http://schemas.microsoft.com/office/drawing/2014/main" xmlns="" id="{1BE4A207-CB83-448A-82E9-638ECC564CA5}"/>
                </a:ext>
              </a:extLst>
            </p:cNvPr>
            <p:cNvSpPr txBox="1">
              <a:spLocks/>
            </p:cNvSpPr>
            <p:nvPr/>
          </p:nvSpPr>
          <p:spPr>
            <a:xfrm>
              <a:off x="1217528"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Unterstützung für Kirchengemeinde und Dekanate</a:t>
              </a:r>
              <a:endParaRPr lang="de-DE" sz="1800" dirty="0">
                <a:solidFill>
                  <a:srgbClr val="572381"/>
                </a:solidFill>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xmlns="" id="{547B234C-4343-49CB-AF88-3A076A91FC70}"/>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3</a:t>
              </a:r>
            </a:p>
          </p:txBody>
        </p:sp>
        <p:sp>
          <p:nvSpPr>
            <p:cNvPr id="39" name="TextBox 38">
              <a:extLst>
                <a:ext uri="{FF2B5EF4-FFF2-40B4-BE49-F238E27FC236}">
                  <a16:creationId xmlns:a16="http://schemas.microsoft.com/office/drawing/2014/main" xmlns="" id="{0D6ADDFA-C20A-4EDC-B167-215D19B689D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16</a:t>
              </a:r>
              <a:endParaRPr lang="de-DE" sz="2800" b="1" dirty="0">
                <a:solidFill>
                  <a:schemeClr val="bg1"/>
                </a:solidFill>
              </a:endParaRPr>
            </a:p>
          </p:txBody>
        </p:sp>
      </p:grpSp>
      <p:grpSp>
        <p:nvGrpSpPr>
          <p:cNvPr id="22" name="Group 21">
            <a:extLst>
              <a:ext uri="{FF2B5EF4-FFF2-40B4-BE49-F238E27FC236}">
                <a16:creationId xmlns:a16="http://schemas.microsoft.com/office/drawing/2014/main" xmlns="" id="{D3986FA0-BD67-4EF3-8229-21195625ADB3}"/>
              </a:ext>
            </a:extLst>
          </p:cNvPr>
          <p:cNvGrpSpPr/>
          <p:nvPr/>
        </p:nvGrpSpPr>
        <p:grpSpPr>
          <a:xfrm>
            <a:off x="480771" y="3968762"/>
            <a:ext cx="11318393" cy="576000"/>
            <a:chOff x="442912" y="2846337"/>
            <a:chExt cx="11301594" cy="576000"/>
          </a:xfrm>
        </p:grpSpPr>
        <p:sp>
          <p:nvSpPr>
            <p:cNvPr id="23" name="Content Placeholder 8">
              <a:extLst>
                <a:ext uri="{FF2B5EF4-FFF2-40B4-BE49-F238E27FC236}">
                  <a16:creationId xmlns:a16="http://schemas.microsoft.com/office/drawing/2014/main" xmlns="" id="{6EEF33E6-3EF3-4861-8DC4-8B053AFE1D13}"/>
                </a:ext>
              </a:extLst>
            </p:cNvPr>
            <p:cNvSpPr txBox="1">
              <a:spLocks/>
            </p:cNvSpPr>
            <p:nvPr/>
          </p:nvSpPr>
          <p:spPr>
            <a:xfrm>
              <a:off x="1217527" y="2846337"/>
              <a:ext cx="10526979"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Spende vs. Entgelt</a:t>
              </a:r>
              <a:endParaRPr lang="de-DE" sz="1800" dirty="0">
                <a:solidFill>
                  <a:srgbClr val="572381"/>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xmlns="" id="{A1802FCF-2921-47B3-AA6E-7DADCC46DA60}"/>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4</a:t>
              </a:r>
            </a:p>
          </p:txBody>
        </p:sp>
        <p:sp>
          <p:nvSpPr>
            <p:cNvPr id="25" name="TextBox 24">
              <a:extLst>
                <a:ext uri="{FF2B5EF4-FFF2-40B4-BE49-F238E27FC236}">
                  <a16:creationId xmlns:a16="http://schemas.microsoft.com/office/drawing/2014/main" xmlns="" id="{9EFD920F-8C6B-45CC-B987-9318FE455C1C}"/>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23</a:t>
              </a:r>
              <a:endParaRPr lang="de-DE" sz="2800" b="1" dirty="0">
                <a:solidFill>
                  <a:schemeClr val="bg1"/>
                </a:solidFill>
              </a:endParaRPr>
            </a:p>
          </p:txBody>
        </p:sp>
      </p:grpSp>
      <p:sp>
        <p:nvSpPr>
          <p:cNvPr id="3" name="Date Placeholder 2">
            <a:extLst>
              <a:ext uri="{FF2B5EF4-FFF2-40B4-BE49-F238E27FC236}">
                <a16:creationId xmlns:a16="http://schemas.microsoft.com/office/drawing/2014/main" xmlns="" id="{B5032D75-63BC-4108-B6E7-5EF0D641FC94}"/>
              </a:ext>
            </a:extLst>
          </p:cNvPr>
          <p:cNvSpPr>
            <a:spLocks noGrp="1"/>
          </p:cNvSpPr>
          <p:nvPr>
            <p:ph type="dt" sz="half" idx="10"/>
          </p:nvPr>
        </p:nvSpPr>
        <p:spPr/>
        <p:txBody>
          <a:bodyPr/>
          <a:lstStyle/>
          <a:p>
            <a:fld id="{298F0CCD-3466-46A2-BAA3-DEEEFB40A63D}" type="datetime1">
              <a:rPr lang="de-DE" smtClean="0"/>
              <a:t>06.07.2021</a:t>
            </a:fld>
            <a:endParaRPr lang="de-DE" dirty="0"/>
          </a:p>
        </p:txBody>
      </p:sp>
      <p:sp>
        <p:nvSpPr>
          <p:cNvPr id="5" name="Footer Placeholder 4">
            <a:extLst>
              <a:ext uri="{FF2B5EF4-FFF2-40B4-BE49-F238E27FC236}">
                <a16:creationId xmlns:a16="http://schemas.microsoft.com/office/drawing/2014/main" xmlns="" id="{46E18843-6049-4337-A0D8-335ACAD7078C}"/>
              </a:ext>
            </a:extLst>
          </p:cNvPr>
          <p:cNvSpPr>
            <a:spLocks noGrp="1"/>
          </p:cNvSpPr>
          <p:nvPr>
            <p:ph type="ftr" sz="quarter" idx="11"/>
          </p:nvPr>
        </p:nvSpPr>
        <p:spPr/>
        <p:txBody>
          <a:bodyPr/>
          <a:lstStyle/>
          <a:p>
            <a:r>
              <a:rPr lang="de-DE" dirty="0"/>
              <a:t>EKHN</a:t>
            </a:r>
          </a:p>
        </p:txBody>
      </p:sp>
      <p:sp>
        <p:nvSpPr>
          <p:cNvPr id="2" name="Slide Number Placeholder 1">
            <a:extLst>
              <a:ext uri="{FF2B5EF4-FFF2-40B4-BE49-F238E27FC236}">
                <a16:creationId xmlns:a16="http://schemas.microsoft.com/office/drawing/2014/main" xmlns="" id="{7A8B9D26-090D-4D8E-807F-A5E281E517EA}"/>
              </a:ext>
            </a:extLst>
          </p:cNvPr>
          <p:cNvSpPr>
            <a:spLocks noGrp="1"/>
          </p:cNvSpPr>
          <p:nvPr>
            <p:ph type="sldNum" sz="quarter" idx="12"/>
          </p:nvPr>
        </p:nvSpPr>
        <p:spPr/>
        <p:txBody>
          <a:bodyPr/>
          <a:lstStyle/>
          <a:p>
            <a:fld id="{2B566E8B-C328-48DA-BCBD-74A040171C7B}" type="slidenum">
              <a:rPr lang="de-DE" smtClean="0"/>
              <a:pPr/>
              <a:t>2</a:t>
            </a:fld>
            <a:endParaRPr lang="de-DE" dirty="0"/>
          </a:p>
        </p:txBody>
      </p:sp>
      <p:sp>
        <p:nvSpPr>
          <p:cNvPr id="6" name="Titel 5"/>
          <p:cNvSpPr>
            <a:spLocks noGrp="1"/>
          </p:cNvSpPr>
          <p:nvPr>
            <p:ph type="title"/>
          </p:nvPr>
        </p:nvSpPr>
        <p:spPr>
          <a:xfrm>
            <a:off x="438352" y="640080"/>
            <a:ext cx="2146718" cy="379140"/>
          </a:xfrm>
        </p:spPr>
        <p:txBody>
          <a:bodyPr/>
          <a:lstStyle/>
          <a:p>
            <a:pPr algn="l"/>
            <a:r>
              <a:rPr lang="de-DE" dirty="0" smtClean="0">
                <a:latin typeface="Calibri" panose="020F0502020204030204" pitchFamily="34" charset="0"/>
                <a:cs typeface="Calibri" panose="020F0502020204030204" pitchFamily="34" charset="0"/>
              </a:rPr>
              <a:t>Agenda</a:t>
            </a:r>
            <a:endParaRPr lang="de-DE" dirty="0">
              <a:latin typeface="Calibri" panose="020F0502020204030204" pitchFamily="34" charset="0"/>
              <a:cs typeface="Calibri" panose="020F0502020204030204" pitchFamily="34" charset="0"/>
            </a:endParaRPr>
          </a:p>
        </p:txBody>
      </p:sp>
      <p:grpSp>
        <p:nvGrpSpPr>
          <p:cNvPr id="20" name="Group 53">
            <a:extLst>
              <a:ext uri="{FF2B5EF4-FFF2-40B4-BE49-F238E27FC236}">
                <a16:creationId xmlns:a16="http://schemas.microsoft.com/office/drawing/2014/main" xmlns="" id="{C6825B71-0D10-43D9-841D-C65CBADB8CC2}"/>
              </a:ext>
            </a:extLst>
          </p:cNvPr>
          <p:cNvGrpSpPr/>
          <p:nvPr/>
        </p:nvGrpSpPr>
        <p:grpSpPr>
          <a:xfrm>
            <a:off x="471345" y="2564904"/>
            <a:ext cx="11318391" cy="576000"/>
            <a:chOff x="442912" y="2846337"/>
            <a:chExt cx="11301593" cy="576000"/>
          </a:xfrm>
        </p:grpSpPr>
        <p:sp>
          <p:nvSpPr>
            <p:cNvPr id="21" name="Content Placeholder 8">
              <a:extLst>
                <a:ext uri="{FF2B5EF4-FFF2-40B4-BE49-F238E27FC236}">
                  <a16:creationId xmlns:a16="http://schemas.microsoft.com/office/drawing/2014/main" xmlns="" id="{82396497-9227-4DE7-A53F-3C32D8A39629}"/>
                </a:ext>
              </a:extLst>
            </p:cNvPr>
            <p:cNvSpPr txBox="1">
              <a:spLocks/>
            </p:cNvSpPr>
            <p:nvPr/>
          </p:nvSpPr>
          <p:spPr>
            <a:xfrm>
              <a:off x="1217527"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Rechtliche Rahmenbedingungen</a:t>
              </a:r>
              <a:endParaRPr lang="de-DE" sz="1800" dirty="0">
                <a:solidFill>
                  <a:srgbClr val="572381"/>
                </a:solidFill>
                <a:latin typeface="Calibri" panose="020F0502020204030204" pitchFamily="34" charset="0"/>
                <a:cs typeface="Calibri" panose="020F0502020204030204" pitchFamily="34" charset="0"/>
              </a:endParaRPr>
            </a:p>
          </p:txBody>
        </p:sp>
        <p:sp>
          <p:nvSpPr>
            <p:cNvPr id="26" name="TextBox 55">
              <a:extLst>
                <a:ext uri="{FF2B5EF4-FFF2-40B4-BE49-F238E27FC236}">
                  <a16:creationId xmlns:a16="http://schemas.microsoft.com/office/drawing/2014/main" xmlns="" id="{02A710AD-EC76-47E0-868B-C07ABA4A06D3}"/>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2</a:t>
              </a:r>
            </a:p>
          </p:txBody>
        </p:sp>
        <p:sp>
          <p:nvSpPr>
            <p:cNvPr id="27" name="TextBox 56">
              <a:extLst>
                <a:ext uri="{FF2B5EF4-FFF2-40B4-BE49-F238E27FC236}">
                  <a16:creationId xmlns:a16="http://schemas.microsoft.com/office/drawing/2014/main" xmlns="" id="{074EEBBF-6475-4D28-BDC8-81175F92FDB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06</a:t>
              </a:r>
              <a:endParaRPr lang="de-DE" sz="2800" b="1" dirty="0">
                <a:solidFill>
                  <a:schemeClr val="bg1"/>
                </a:solidFill>
              </a:endParaRPr>
            </a:p>
          </p:txBody>
        </p:sp>
      </p:grpSp>
      <p:grpSp>
        <p:nvGrpSpPr>
          <p:cNvPr id="29" name="Group 50">
            <a:extLst>
              <a:ext uri="{FF2B5EF4-FFF2-40B4-BE49-F238E27FC236}">
                <a16:creationId xmlns:a16="http://schemas.microsoft.com/office/drawing/2014/main" xmlns="" id="{5395E155-2E71-415F-9DEF-4F1408FBD21E}"/>
              </a:ext>
            </a:extLst>
          </p:cNvPr>
          <p:cNvGrpSpPr/>
          <p:nvPr/>
        </p:nvGrpSpPr>
        <p:grpSpPr>
          <a:xfrm>
            <a:off x="480774" y="4688842"/>
            <a:ext cx="11318393" cy="576000"/>
            <a:chOff x="442912" y="2846337"/>
            <a:chExt cx="11301594" cy="576000"/>
          </a:xfrm>
        </p:grpSpPr>
        <p:sp>
          <p:nvSpPr>
            <p:cNvPr id="30" name="Content Placeholder 8">
              <a:extLst>
                <a:ext uri="{FF2B5EF4-FFF2-40B4-BE49-F238E27FC236}">
                  <a16:creationId xmlns:a16="http://schemas.microsoft.com/office/drawing/2014/main" xmlns="" id="{1BE4A207-CB83-448A-82E9-638ECC564CA5}"/>
                </a:ext>
              </a:extLst>
            </p:cNvPr>
            <p:cNvSpPr txBox="1">
              <a:spLocks/>
            </p:cNvSpPr>
            <p:nvPr/>
          </p:nvSpPr>
          <p:spPr>
            <a:xfrm>
              <a:off x="1217528"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a:solidFill>
                    <a:srgbClr val="572381"/>
                  </a:solidFill>
                  <a:latin typeface="Calibri" panose="020F0502020204030204" pitchFamily="34" charset="0"/>
                  <a:cs typeface="Calibri" panose="020F0502020204030204" pitchFamily="34" charset="0"/>
                </a:rPr>
                <a:t>Die umsatzsteuerliche </a:t>
              </a:r>
              <a:r>
                <a:rPr lang="de-DE" sz="1800" dirty="0" smtClean="0">
                  <a:solidFill>
                    <a:srgbClr val="572381"/>
                  </a:solidFill>
                  <a:latin typeface="Calibri" panose="020F0502020204030204" pitchFamily="34" charset="0"/>
                  <a:cs typeface="Calibri" panose="020F0502020204030204" pitchFamily="34" charset="0"/>
                </a:rPr>
                <a:t>Rechnung</a:t>
              </a:r>
              <a:endParaRPr lang="de-DE" sz="1800" dirty="0">
                <a:solidFill>
                  <a:srgbClr val="572381"/>
                </a:solidFill>
                <a:latin typeface="Calibri" panose="020F0502020204030204" pitchFamily="34" charset="0"/>
                <a:cs typeface="Calibri" panose="020F0502020204030204" pitchFamily="34" charset="0"/>
              </a:endParaRPr>
            </a:p>
          </p:txBody>
        </p:sp>
        <p:sp>
          <p:nvSpPr>
            <p:cNvPr id="32" name="TextBox 37">
              <a:extLst>
                <a:ext uri="{FF2B5EF4-FFF2-40B4-BE49-F238E27FC236}">
                  <a16:creationId xmlns:a16="http://schemas.microsoft.com/office/drawing/2014/main" xmlns="" id="{547B234C-4343-49CB-AF88-3A076A91FC70}"/>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5</a:t>
              </a:r>
            </a:p>
          </p:txBody>
        </p:sp>
        <p:sp>
          <p:nvSpPr>
            <p:cNvPr id="33" name="TextBox 38">
              <a:extLst>
                <a:ext uri="{FF2B5EF4-FFF2-40B4-BE49-F238E27FC236}">
                  <a16:creationId xmlns:a16="http://schemas.microsoft.com/office/drawing/2014/main" xmlns="" id="{0D6ADDFA-C20A-4EDC-B167-215D19B689D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31</a:t>
              </a:r>
              <a:endParaRPr lang="de-DE" sz="2800" b="1" dirty="0">
                <a:solidFill>
                  <a:schemeClr val="bg1"/>
                </a:solidFill>
              </a:endParaRPr>
            </a:p>
          </p:txBody>
        </p:sp>
      </p:grpSp>
      <p:grpSp>
        <p:nvGrpSpPr>
          <p:cNvPr id="34" name="Group 53">
            <a:extLst>
              <a:ext uri="{FF2B5EF4-FFF2-40B4-BE49-F238E27FC236}">
                <a16:creationId xmlns:a16="http://schemas.microsoft.com/office/drawing/2014/main" xmlns="" id="{C6825B71-0D10-43D9-841D-C65CBADB8CC2}"/>
              </a:ext>
            </a:extLst>
          </p:cNvPr>
          <p:cNvGrpSpPr/>
          <p:nvPr/>
        </p:nvGrpSpPr>
        <p:grpSpPr>
          <a:xfrm>
            <a:off x="488901" y="1844824"/>
            <a:ext cx="11318391" cy="576000"/>
            <a:chOff x="442912" y="2846337"/>
            <a:chExt cx="11301593" cy="576000"/>
          </a:xfrm>
        </p:grpSpPr>
        <p:sp>
          <p:nvSpPr>
            <p:cNvPr id="35" name="Content Placeholder 8">
              <a:extLst>
                <a:ext uri="{FF2B5EF4-FFF2-40B4-BE49-F238E27FC236}">
                  <a16:creationId xmlns:a16="http://schemas.microsoft.com/office/drawing/2014/main" xmlns="" id="{82396497-9227-4DE7-A53F-3C32D8A39629}"/>
                </a:ext>
              </a:extLst>
            </p:cNvPr>
            <p:cNvSpPr txBox="1">
              <a:spLocks/>
            </p:cNvSpPr>
            <p:nvPr/>
          </p:nvSpPr>
          <p:spPr>
            <a:xfrm>
              <a:off x="1217527"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8775" indent="0">
                <a:buNone/>
              </a:pPr>
              <a:r>
                <a:rPr lang="de-DE" sz="1800" dirty="0">
                  <a:solidFill>
                    <a:srgbClr val="572381"/>
                  </a:solidFill>
                  <a:latin typeface="Calibri" panose="020F0502020204030204" pitchFamily="34" charset="0"/>
                  <a:cs typeface="Calibri" panose="020F0502020204030204" pitchFamily="34" charset="0"/>
                </a:rPr>
                <a:t>Tätigkeiten</a:t>
              </a:r>
              <a:r>
                <a:rPr lang="de-DE" sz="1800" b="1" spc="300" dirty="0">
                  <a:solidFill>
                    <a:srgbClr val="5D0B7A"/>
                  </a:solidFill>
                  <a:latin typeface="Calibri" panose="020F0502020204030204" pitchFamily="34" charset="0"/>
                  <a:cs typeface="Calibri" panose="020F0502020204030204" pitchFamily="34" charset="0"/>
                </a:rPr>
                <a:t> </a:t>
              </a:r>
              <a:r>
                <a:rPr lang="de-DE" sz="1800" dirty="0">
                  <a:solidFill>
                    <a:srgbClr val="572381"/>
                  </a:solidFill>
                  <a:latin typeface="Calibri" panose="020F0502020204030204" pitchFamily="34" charset="0"/>
                  <a:cs typeface="Calibri" panose="020F0502020204030204" pitchFamily="34" charset="0"/>
                </a:rPr>
                <a:t>der Gemeindesekretär*innen</a:t>
              </a:r>
            </a:p>
          </p:txBody>
        </p:sp>
        <p:sp>
          <p:nvSpPr>
            <p:cNvPr id="36" name="TextBox 55">
              <a:extLst>
                <a:ext uri="{FF2B5EF4-FFF2-40B4-BE49-F238E27FC236}">
                  <a16:creationId xmlns:a16="http://schemas.microsoft.com/office/drawing/2014/main" xmlns="" id="{02A710AD-EC76-47E0-868B-C07ABA4A06D3}"/>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1</a:t>
              </a:r>
            </a:p>
          </p:txBody>
        </p:sp>
        <p:sp>
          <p:nvSpPr>
            <p:cNvPr id="40" name="TextBox 56">
              <a:extLst>
                <a:ext uri="{FF2B5EF4-FFF2-40B4-BE49-F238E27FC236}">
                  <a16:creationId xmlns:a16="http://schemas.microsoft.com/office/drawing/2014/main" xmlns="" id="{074EEBBF-6475-4D28-BDC8-81175F92FDB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04</a:t>
              </a:r>
              <a:endParaRPr lang="de-DE" sz="2800" b="1" dirty="0">
                <a:solidFill>
                  <a:schemeClr val="bg1"/>
                </a:solidFill>
              </a:endParaRPr>
            </a:p>
          </p:txBody>
        </p:sp>
      </p:grpSp>
    </p:spTree>
    <p:extLst>
      <p:ext uri="{BB962C8B-B14F-4D97-AF65-F5344CB8AC3E}">
        <p14:creationId xmlns:p14="http://schemas.microsoft.com/office/powerpoint/2010/main" val="8943756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5121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Spende vs. Entgelt</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4</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20</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469755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sz="2000" b="0" dirty="0" smtClean="0">
                <a:solidFill>
                  <a:srgbClr val="572381"/>
                </a:solidFill>
                <a:latin typeface="Calibri" panose="020F0502020204030204" pitchFamily="34" charset="0"/>
              </a:rPr>
              <a:t>Nur „echte“ Spenden sind nicht umsatzsteuerrelevant:</a:t>
            </a:r>
          </a:p>
          <a:p>
            <a:pPr lvl="1"/>
            <a:r>
              <a:rPr lang="de-DE" sz="1800" b="0" dirty="0" smtClean="0">
                <a:solidFill>
                  <a:srgbClr val="572381"/>
                </a:solidFill>
                <a:latin typeface="Calibri" panose="020F0502020204030204" pitchFamily="34" charset="0"/>
              </a:rPr>
              <a:t>nur solche Zuwendungen, die ohne jegliche Erwartung einer Gegenleistung oder ohne Bezug zu einer bereits erhaltenen Gegenleistung erfolgen</a:t>
            </a:r>
          </a:p>
          <a:p>
            <a:pPr lvl="1"/>
            <a:r>
              <a:rPr lang="de-DE" sz="1800" b="0" dirty="0" smtClean="0">
                <a:solidFill>
                  <a:srgbClr val="572381"/>
                </a:solidFill>
                <a:latin typeface="Calibri" panose="020F0502020204030204" pitchFamily="34" charset="0"/>
              </a:rPr>
              <a:t>Motivation: allgemeine Förderung</a:t>
            </a:r>
          </a:p>
          <a:p>
            <a:pPr lvl="1"/>
            <a:r>
              <a:rPr lang="de-DE" sz="1800" b="0" dirty="0" smtClean="0">
                <a:solidFill>
                  <a:srgbClr val="572381"/>
                </a:solidFill>
                <a:latin typeface="Calibri" panose="020F0502020204030204" pitchFamily="34" charset="0"/>
              </a:rPr>
              <a:t>Freiwilligkeit der Leistung</a:t>
            </a:r>
            <a:endParaRPr lang="de-DE" b="0" dirty="0">
              <a:latin typeface="Calibri" panose="020F0502020204030204" pitchFamily="34" charset="0"/>
            </a:endParaRPr>
          </a:p>
          <a:p>
            <a:pPr marL="400050" lvl="1" indent="0">
              <a:buNone/>
            </a:pPr>
            <a:endParaRPr lang="de-DE" b="0" dirty="0" smtClean="0">
              <a:latin typeface="Calibri" panose="020F0502020204030204" pitchFamily="34" charset="0"/>
            </a:endParaRPr>
          </a:p>
          <a:p>
            <a:pPr marL="400050" lvl="1" indent="0">
              <a:buNone/>
            </a:pPr>
            <a:r>
              <a:rPr lang="de-DE" b="0" dirty="0" smtClean="0">
                <a:solidFill>
                  <a:srgbClr val="572381"/>
                </a:solidFill>
                <a:latin typeface="Calibri" panose="020F0502020204030204" pitchFamily="34" charset="0"/>
              </a:rPr>
              <a:t>Viele Einnahme, die sprachlich als Spenden bezeichnet werden, sind umsatzsteuerlich Entgelt für eine Leistung </a:t>
            </a:r>
          </a:p>
          <a:p>
            <a:pPr lvl="1"/>
            <a:endParaRPr lang="de-DE" dirty="0" smtClean="0"/>
          </a:p>
          <a:p>
            <a:endParaRPr lang="de-DE" dirty="0"/>
          </a:p>
        </p:txBody>
      </p:sp>
      <p:sp>
        <p:nvSpPr>
          <p:cNvPr id="3" name="Titel 2"/>
          <p:cNvSpPr>
            <a:spLocks noGrp="1"/>
          </p:cNvSpPr>
          <p:nvPr>
            <p:ph type="title"/>
          </p:nvPr>
        </p:nvSpPr>
        <p:spPr/>
        <p:txBody>
          <a:bodyPr/>
          <a:lstStyle/>
          <a:p>
            <a:r>
              <a:rPr lang="de-DE" dirty="0" smtClean="0"/>
              <a:t>Spenden versus Entgelt – eine Abgrenzung</a:t>
            </a:r>
            <a:endParaRPr lang="de-DE" dirty="0"/>
          </a:p>
        </p:txBody>
      </p:sp>
      <p:pic>
        <p:nvPicPr>
          <p:cNvPr id="4" name="Grafik 3"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252" y="4725144"/>
            <a:ext cx="1395056" cy="917784"/>
          </a:xfrm>
          <a:prstGeom prst="rect">
            <a:avLst/>
          </a:prstGeom>
        </p:spPr>
      </p:pic>
      <p:pic>
        <p:nvPicPr>
          <p:cNvPr id="5" name="Grafik 4"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07622" y="4648944"/>
            <a:ext cx="1395056" cy="1070184"/>
          </a:xfrm>
          <a:prstGeom prst="rect">
            <a:avLst/>
          </a:prstGeom>
        </p:spPr>
      </p:pic>
      <p:sp>
        <p:nvSpPr>
          <p:cNvPr id="6"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Spende vs. Entgel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99603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010419" y="476672"/>
            <a:ext cx="7991614" cy="379140"/>
          </a:xfrm>
        </p:spPr>
        <p:txBody>
          <a:bodyPr/>
          <a:lstStyle/>
          <a:p>
            <a:pPr lvl="0" algn="l"/>
            <a:r>
              <a:rPr lang="de-DE" dirty="0" smtClean="0"/>
              <a:t>Unechte Spende = Leistungsentgelt Beispiel 1</a:t>
            </a:r>
            <a:endParaRPr lang="de-DE" dirty="0"/>
          </a:p>
        </p:txBody>
      </p:sp>
      <p:sp>
        <p:nvSpPr>
          <p:cNvPr id="5" name="Inhaltsplatzhalter 1"/>
          <p:cNvSpPr>
            <a:spLocks noGrp="1"/>
          </p:cNvSpPr>
          <p:nvPr>
            <p:ph idx="1"/>
          </p:nvPr>
        </p:nvSpPr>
        <p:spPr>
          <a:xfrm>
            <a:off x="407564" y="2132856"/>
            <a:ext cx="11411797" cy="3886944"/>
          </a:xfrm>
        </p:spPr>
        <p:txBody>
          <a:bodyPr/>
          <a:lstStyle/>
          <a:p>
            <a:r>
              <a:rPr lang="de-DE" sz="1800" b="0" dirty="0" smtClean="0">
                <a:solidFill>
                  <a:srgbClr val="572381"/>
                </a:solidFill>
                <a:latin typeface="Calibri" panose="020F0502020204030204" pitchFamily="34" charset="0"/>
                <a:cs typeface="Calibri" panose="020F0502020204030204" pitchFamily="34" charset="0"/>
              </a:rPr>
              <a:t>Veranstaltung Gemeindecafé</a:t>
            </a:r>
          </a:p>
          <a:p>
            <a:r>
              <a:rPr lang="de-DE" sz="1800" b="0" dirty="0" smtClean="0">
                <a:solidFill>
                  <a:srgbClr val="572381"/>
                </a:solidFill>
                <a:latin typeface="Calibri" panose="020F0502020204030204" pitchFamily="34" charset="0"/>
                <a:cs typeface="Calibri" panose="020F0502020204030204" pitchFamily="34" charset="0"/>
              </a:rPr>
              <a:t>Gemeinde verlangt für Kaffee und Kuchen keinen Preis bittet aber hierfür um eine „Spende“  </a:t>
            </a:r>
          </a:p>
          <a:p>
            <a:pPr marL="0" indent="0" algn="ctr">
              <a:buNone/>
            </a:pPr>
            <a:r>
              <a:rPr lang="de-DE" sz="2000" dirty="0" smtClean="0">
                <a:solidFill>
                  <a:srgbClr val="572381"/>
                </a:solidFill>
                <a:latin typeface="Calibri" panose="020F0502020204030204" pitchFamily="34" charset="0"/>
                <a:cs typeface="Calibri" panose="020F0502020204030204" pitchFamily="34" charset="0"/>
              </a:rPr>
              <a:t>Leistungsentgelt !!!</a:t>
            </a:r>
          </a:p>
          <a:p>
            <a:pPr marL="0" indent="0" algn="ctr">
              <a:buNone/>
            </a:pPr>
            <a:endParaRPr lang="de-DE" sz="1800" b="0" dirty="0" smtClean="0">
              <a:solidFill>
                <a:srgbClr val="572381"/>
              </a:solidFill>
              <a:latin typeface="Calibri" panose="020F0502020204030204" pitchFamily="34" charset="0"/>
              <a:cs typeface="Calibri" panose="020F0502020204030204" pitchFamily="34" charset="0"/>
            </a:endParaRPr>
          </a:p>
          <a:p>
            <a:pPr marL="0" indent="0">
              <a:spcBef>
                <a:spcPts val="600"/>
              </a:spcBef>
              <a:buNone/>
            </a:pPr>
            <a:r>
              <a:rPr lang="de-DE" sz="1600" b="0" dirty="0" smtClean="0">
                <a:solidFill>
                  <a:srgbClr val="572381"/>
                </a:solidFill>
                <a:latin typeface="Calibri" panose="020F0502020204030204" pitchFamily="34" charset="0"/>
                <a:cs typeface="Calibri" panose="020F0502020204030204" pitchFamily="34" charset="0"/>
              </a:rPr>
              <a:t>In diesem Fall handelt es sich um umsatzsteuerpflichtige Verkaufserlöse </a:t>
            </a:r>
          </a:p>
          <a:p>
            <a:pPr marL="0" indent="0">
              <a:spcBef>
                <a:spcPts val="600"/>
              </a:spcBef>
              <a:buNone/>
            </a:pPr>
            <a:r>
              <a:rPr lang="de-DE" sz="1600" b="0" dirty="0" smtClean="0">
                <a:solidFill>
                  <a:srgbClr val="572381"/>
                </a:solidFill>
                <a:latin typeface="Calibri" panose="020F0502020204030204" pitchFamily="34" charset="0"/>
                <a:cs typeface="Calibri" panose="020F0502020204030204" pitchFamily="34" charset="0"/>
              </a:rPr>
              <a:t>Gilt unabhängig davon, ob Kaffee und Kuchen von Gemeindemitgliedern selbst unentgeltlich bereitgestellt wurden</a:t>
            </a:r>
          </a:p>
          <a:p>
            <a:endParaRPr lang="de-DE" sz="1800" dirty="0" smtClean="0"/>
          </a:p>
          <a:p>
            <a:endParaRPr lang="de-DE" dirty="0"/>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41854" y="3104217"/>
            <a:ext cx="1744218" cy="1519598"/>
          </a:xfrm>
          <a:prstGeom prst="rect">
            <a:avLst/>
          </a:prstGeom>
        </p:spPr>
      </p:pic>
      <p:sp>
        <p:nvSpPr>
          <p:cNvPr id="6"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Spende vs. Entgel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24189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010419" y="476672"/>
            <a:ext cx="7991614" cy="379140"/>
          </a:xfrm>
        </p:spPr>
        <p:txBody>
          <a:bodyPr/>
          <a:lstStyle/>
          <a:p>
            <a:pPr lvl="0" algn="l"/>
            <a:r>
              <a:rPr lang="de-DE" dirty="0" smtClean="0"/>
              <a:t>Unechte Spende = Leistungsentgelt Beispiel 2</a:t>
            </a:r>
            <a:endParaRPr lang="de-DE" dirty="0"/>
          </a:p>
        </p:txBody>
      </p:sp>
      <p:sp>
        <p:nvSpPr>
          <p:cNvPr id="5" name="Inhaltsplatzhalter 1"/>
          <p:cNvSpPr>
            <a:spLocks noGrp="1"/>
          </p:cNvSpPr>
          <p:nvPr>
            <p:ph idx="1"/>
          </p:nvPr>
        </p:nvSpPr>
        <p:spPr>
          <a:xfrm>
            <a:off x="407564" y="2132856"/>
            <a:ext cx="11411797" cy="3886944"/>
          </a:xfrm>
        </p:spPr>
        <p:txBody>
          <a:bodyPr/>
          <a:lstStyle/>
          <a:p>
            <a:r>
              <a:rPr lang="de-DE" sz="1800" b="0" dirty="0" smtClean="0">
                <a:solidFill>
                  <a:srgbClr val="572381"/>
                </a:solidFill>
                <a:latin typeface="Calibri" panose="020F0502020204030204" pitchFamily="34" charset="0"/>
                <a:cs typeface="Calibri" panose="020F0502020204030204" pitchFamily="34" charset="0"/>
              </a:rPr>
              <a:t>Theatergruppe einer Gemeinde führt einen Schwank auf</a:t>
            </a:r>
          </a:p>
          <a:p>
            <a:r>
              <a:rPr lang="de-DE" sz="1800" b="0" dirty="0" smtClean="0">
                <a:solidFill>
                  <a:srgbClr val="572381"/>
                </a:solidFill>
                <a:latin typeface="Calibri" panose="020F0502020204030204" pitchFamily="34" charset="0"/>
                <a:cs typeface="Calibri" panose="020F0502020204030204" pitchFamily="34" charset="0"/>
              </a:rPr>
              <a:t>Plakatwerbung: „Der Eintritt ist frei. Um eine Spende am Ausgang wird gebeten!“</a:t>
            </a:r>
          </a:p>
          <a:p>
            <a:pPr marL="0" indent="0" algn="ctr">
              <a:buNone/>
            </a:pPr>
            <a:endParaRPr lang="de-DE" sz="2000" dirty="0" smtClean="0">
              <a:solidFill>
                <a:srgbClr val="572381"/>
              </a:solidFill>
              <a:latin typeface="Calibri" panose="020F0502020204030204" pitchFamily="34" charset="0"/>
              <a:cs typeface="Calibri" panose="020F0502020204030204" pitchFamily="34" charset="0"/>
            </a:endParaRPr>
          </a:p>
          <a:p>
            <a:pPr marL="0" indent="0" algn="ctr">
              <a:buNone/>
            </a:pPr>
            <a:r>
              <a:rPr lang="de-DE" sz="2000" dirty="0" smtClean="0">
                <a:solidFill>
                  <a:srgbClr val="572381"/>
                </a:solidFill>
                <a:latin typeface="Calibri" panose="020F0502020204030204" pitchFamily="34" charset="0"/>
                <a:cs typeface="Calibri" panose="020F0502020204030204" pitchFamily="34" charset="0"/>
              </a:rPr>
              <a:t>Leistungsentgelt !!!</a:t>
            </a:r>
          </a:p>
          <a:p>
            <a:pPr marL="0" indent="0" algn="ctr">
              <a:buNone/>
            </a:pPr>
            <a:endParaRPr lang="de-DE" sz="1800" b="0" dirty="0" smtClean="0">
              <a:solidFill>
                <a:srgbClr val="572381"/>
              </a:solidFill>
              <a:latin typeface="Calibri" panose="020F0502020204030204" pitchFamily="34" charset="0"/>
              <a:cs typeface="Calibri" panose="020F0502020204030204" pitchFamily="34" charset="0"/>
            </a:endParaRPr>
          </a:p>
          <a:p>
            <a:pPr marL="0" indent="0">
              <a:spcBef>
                <a:spcPts val="600"/>
              </a:spcBef>
              <a:buNone/>
            </a:pPr>
            <a:endParaRPr lang="de-DE" sz="1600" b="0" dirty="0" smtClean="0">
              <a:solidFill>
                <a:srgbClr val="572381"/>
              </a:solidFill>
              <a:latin typeface="Calibri" panose="020F0502020204030204" pitchFamily="34" charset="0"/>
              <a:cs typeface="Calibri" panose="020F0502020204030204" pitchFamily="34" charset="0"/>
            </a:endParaRPr>
          </a:p>
          <a:p>
            <a:pPr marL="0" indent="0">
              <a:spcBef>
                <a:spcPts val="600"/>
              </a:spcBef>
              <a:buNone/>
            </a:pPr>
            <a:r>
              <a:rPr lang="de-DE" sz="1600" b="0" dirty="0" smtClean="0">
                <a:solidFill>
                  <a:srgbClr val="572381"/>
                </a:solidFill>
                <a:latin typeface="Calibri" panose="020F0502020204030204" pitchFamily="34" charset="0"/>
                <a:cs typeface="Calibri" panose="020F0502020204030204" pitchFamily="34" charset="0"/>
              </a:rPr>
              <a:t>In diesem Fall handelt es sich um umsatzsteuerbare Eintrittsgelder</a:t>
            </a:r>
          </a:p>
          <a:p>
            <a:pPr marL="0" indent="0">
              <a:spcBef>
                <a:spcPts val="600"/>
              </a:spcBef>
              <a:buNone/>
            </a:pPr>
            <a:r>
              <a:rPr lang="de-DE" sz="1600" b="0" dirty="0" smtClean="0">
                <a:solidFill>
                  <a:srgbClr val="572381"/>
                </a:solidFill>
                <a:latin typeface="Calibri" panose="020F0502020204030204" pitchFamily="34" charset="0"/>
                <a:cs typeface="Calibri" panose="020F0502020204030204" pitchFamily="34" charset="0"/>
              </a:rPr>
              <a:t>Können im Einzelfall (muss überprüft werden) umsatzsteuerfrei sein</a:t>
            </a:r>
          </a:p>
          <a:p>
            <a:endParaRPr lang="de-DE" dirty="0">
              <a:latin typeface="Calibri" panose="020F0502020204030204" pitchFamily="34" charset="0"/>
              <a:cs typeface="Calibri" panose="020F0502020204030204" pitchFamily="34" charset="0"/>
            </a:endParaRP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81814" y="3140968"/>
            <a:ext cx="1744218" cy="1519598"/>
          </a:xfrm>
          <a:prstGeom prst="rect">
            <a:avLst/>
          </a:prstGeom>
        </p:spPr>
      </p:pic>
      <p:sp>
        <p:nvSpPr>
          <p:cNvPr id="6"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Spende vs. Entgel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42979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2465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Die </a:t>
              </a:r>
              <a:r>
                <a:rPr lang="de-DE" sz="3600" b="1" spc="300" dirty="0">
                  <a:solidFill>
                    <a:srgbClr val="5D0B7A"/>
                  </a:solidFill>
                  <a:latin typeface="Calibri" panose="020F0502020204030204" pitchFamily="34" charset="0"/>
                  <a:cs typeface="Calibri" panose="020F0502020204030204" pitchFamily="34" charset="0"/>
                </a:rPr>
                <a:t>umsatzsteuerliche </a:t>
              </a:r>
              <a:r>
                <a:rPr lang="de-DE" sz="3600" b="1" spc="300" dirty="0" smtClean="0">
                  <a:solidFill>
                    <a:srgbClr val="5D0B7A"/>
                  </a:solidFill>
                  <a:latin typeface="Calibri" panose="020F0502020204030204" pitchFamily="34" charset="0"/>
                  <a:cs typeface="Calibri" panose="020F0502020204030204" pitchFamily="34" charset="0"/>
                </a:rPr>
                <a:t>Rechnung</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5</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24</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21818885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28738" y="1844824"/>
            <a:ext cx="11411797" cy="4104456"/>
          </a:xfrm>
        </p:spPr>
        <p:txBody>
          <a:bodyPr/>
          <a:lstStyle/>
          <a:p>
            <a:pPr>
              <a:lnSpc>
                <a:spcPct val="150000"/>
              </a:lnSpc>
            </a:pPr>
            <a:r>
              <a:rPr lang="de-DE" dirty="0" smtClean="0">
                <a:solidFill>
                  <a:srgbClr val="572381"/>
                </a:solidFill>
                <a:latin typeface="Calibri" panose="020F0502020204030204" pitchFamily="34" charset="0"/>
                <a:cs typeface="Calibri" panose="020F0502020204030204" pitchFamily="34" charset="0"/>
              </a:rPr>
              <a:t>Rechnung </a:t>
            </a:r>
            <a:r>
              <a:rPr lang="de-DE" dirty="0">
                <a:solidFill>
                  <a:srgbClr val="572381"/>
                </a:solidFill>
                <a:latin typeface="Calibri" panose="020F0502020204030204" pitchFamily="34" charset="0"/>
                <a:cs typeface="Calibri" panose="020F0502020204030204" pitchFamily="34" charset="0"/>
              </a:rPr>
              <a:t>ist jedes </a:t>
            </a:r>
            <a:r>
              <a:rPr lang="de-DE" dirty="0" smtClean="0">
                <a:solidFill>
                  <a:srgbClr val="572381"/>
                </a:solidFill>
                <a:latin typeface="Calibri" panose="020F0502020204030204" pitchFamily="34" charset="0"/>
                <a:cs typeface="Calibri" panose="020F0502020204030204" pitchFamily="34" charset="0"/>
              </a:rPr>
              <a:t>Dokument </a:t>
            </a:r>
          </a:p>
          <a:p>
            <a:pPr lvl="1">
              <a:lnSpc>
                <a:spcPct val="150000"/>
              </a:lnSpc>
            </a:pPr>
            <a:r>
              <a:rPr lang="de-DE" sz="1600" b="0" dirty="0" smtClean="0">
                <a:solidFill>
                  <a:srgbClr val="572381"/>
                </a:solidFill>
                <a:latin typeface="Calibri" panose="020F0502020204030204" pitchFamily="34" charset="0"/>
                <a:cs typeface="Calibri" panose="020F0502020204030204" pitchFamily="34" charset="0"/>
              </a:rPr>
              <a:t>mit </a:t>
            </a:r>
            <a:r>
              <a:rPr lang="de-DE" sz="1600" b="0" dirty="0">
                <a:solidFill>
                  <a:srgbClr val="572381"/>
                </a:solidFill>
                <a:latin typeface="Calibri" panose="020F0502020204030204" pitchFamily="34" charset="0"/>
                <a:cs typeface="Calibri" panose="020F0502020204030204" pitchFamily="34" charset="0"/>
              </a:rPr>
              <a:t>dem über eine Lieferung oder sonstige Leistung abgerechnet </a:t>
            </a:r>
            <a:r>
              <a:rPr lang="de-DE" sz="1600" b="0" dirty="0" smtClean="0">
                <a:solidFill>
                  <a:srgbClr val="572381"/>
                </a:solidFill>
                <a:latin typeface="Calibri" panose="020F0502020204030204" pitchFamily="34" charset="0"/>
                <a:cs typeface="Calibri" panose="020F0502020204030204" pitchFamily="34" charset="0"/>
              </a:rPr>
              <a:t>wird</a:t>
            </a:r>
          </a:p>
          <a:p>
            <a:pPr lvl="1"/>
            <a:r>
              <a:rPr lang="de-DE" sz="1600" b="0" dirty="0" smtClean="0">
                <a:solidFill>
                  <a:srgbClr val="572381"/>
                </a:solidFill>
                <a:latin typeface="Calibri" panose="020F0502020204030204" pitchFamily="34" charset="0"/>
                <a:cs typeface="Calibri" panose="020F0502020204030204" pitchFamily="34" charset="0"/>
              </a:rPr>
              <a:t>gleichgültig</a:t>
            </a:r>
            <a:r>
              <a:rPr lang="de-DE" sz="1600" b="0" dirty="0">
                <a:solidFill>
                  <a:srgbClr val="572381"/>
                </a:solidFill>
                <a:latin typeface="Calibri" panose="020F0502020204030204" pitchFamily="34" charset="0"/>
                <a:cs typeface="Calibri" panose="020F0502020204030204" pitchFamily="34" charset="0"/>
              </a:rPr>
              <a:t>, wie dieses Dokument im Geschäftsverkehr bezeichnet </a:t>
            </a:r>
            <a:r>
              <a:rPr lang="de-DE" sz="1600" b="0" dirty="0" smtClean="0">
                <a:solidFill>
                  <a:srgbClr val="572381"/>
                </a:solidFill>
                <a:latin typeface="Calibri" panose="020F0502020204030204" pitchFamily="34" charset="0"/>
                <a:cs typeface="Calibri" panose="020F0502020204030204" pitchFamily="34" charset="0"/>
              </a:rPr>
              <a:t>wird</a:t>
            </a:r>
          </a:p>
          <a:p>
            <a:pPr>
              <a:lnSpc>
                <a:spcPct val="150000"/>
              </a:lnSpc>
            </a:pPr>
            <a:r>
              <a:rPr lang="de-DE" dirty="0" smtClean="0">
                <a:solidFill>
                  <a:srgbClr val="572381"/>
                </a:solidFill>
                <a:latin typeface="Calibri" panose="020F0502020204030204" pitchFamily="34" charset="0"/>
                <a:cs typeface="Calibri" panose="020F0502020204030204" pitchFamily="34" charset="0"/>
              </a:rPr>
              <a:t>Rechnung </a:t>
            </a:r>
            <a:r>
              <a:rPr lang="de-DE" dirty="0">
                <a:solidFill>
                  <a:srgbClr val="572381"/>
                </a:solidFill>
                <a:latin typeface="Calibri" panose="020F0502020204030204" pitchFamily="34" charset="0"/>
                <a:cs typeface="Calibri" panose="020F0502020204030204" pitchFamily="34" charset="0"/>
              </a:rPr>
              <a:t>hat zentrale Bedeutung im Umsatzsteuerrecht</a:t>
            </a:r>
          </a:p>
          <a:p>
            <a:pPr lvl="1">
              <a:lnSpc>
                <a:spcPct val="150000"/>
              </a:lnSpc>
            </a:pPr>
            <a:r>
              <a:rPr lang="de-DE" sz="1600" b="0" dirty="0">
                <a:solidFill>
                  <a:srgbClr val="572381"/>
                </a:solidFill>
                <a:latin typeface="Calibri" panose="020F0502020204030204" pitchFamily="34" charset="0"/>
                <a:cs typeface="Calibri" panose="020F0502020204030204" pitchFamily="34" charset="0"/>
              </a:rPr>
              <a:t>Weitreichende Verpflichtung zur Ausstellung</a:t>
            </a:r>
          </a:p>
          <a:p>
            <a:pPr lvl="1">
              <a:lnSpc>
                <a:spcPct val="150000"/>
              </a:lnSpc>
            </a:pPr>
            <a:r>
              <a:rPr lang="de-DE" sz="1600" b="0" dirty="0">
                <a:solidFill>
                  <a:srgbClr val="572381"/>
                </a:solidFill>
                <a:latin typeface="Calibri" panose="020F0502020204030204" pitchFamily="34" charset="0"/>
                <a:cs typeface="Calibri" panose="020F0502020204030204" pitchFamily="34" charset="0"/>
              </a:rPr>
              <a:t>Notwendige Voraussetzung für den Vorsteuerabzug des Leistungsempfängers</a:t>
            </a:r>
          </a:p>
          <a:p>
            <a:pPr marL="0" indent="0" algn="ctr">
              <a:buNone/>
            </a:pPr>
            <a:r>
              <a:rPr lang="de-DE" dirty="0" smtClean="0">
                <a:solidFill>
                  <a:srgbClr val="572381"/>
                </a:solidFill>
                <a:latin typeface="Calibri" panose="020F0502020204030204" pitchFamily="34" charset="0"/>
                <a:cs typeface="Calibri" panose="020F0502020204030204" pitchFamily="34" charset="0"/>
              </a:rPr>
              <a:t>Umsatzsteuer entsteht auch ohne Ausstellung einer Rechnung</a:t>
            </a:r>
            <a:endParaRPr lang="de-DE" dirty="0">
              <a:solidFill>
                <a:srgbClr val="572381"/>
              </a:solidFill>
              <a:latin typeface="Calibri" panose="020F0502020204030204" pitchFamily="34" charset="0"/>
              <a:cs typeface="Calibri" panose="020F0502020204030204" pitchFamily="34" charset="0"/>
            </a:endParaRPr>
          </a:p>
        </p:txBody>
      </p:sp>
      <p:sp>
        <p:nvSpPr>
          <p:cNvPr id="3" name="Titel 2"/>
          <p:cNvSpPr>
            <a:spLocks noGrp="1"/>
          </p:cNvSpPr>
          <p:nvPr>
            <p:ph type="title"/>
          </p:nvPr>
        </p:nvSpPr>
        <p:spPr>
          <a:xfrm>
            <a:off x="687088" y="470551"/>
            <a:ext cx="5282358" cy="504056"/>
          </a:xfrm>
        </p:spPr>
        <p:txBody>
          <a:bodyPr/>
          <a:lstStyle/>
          <a:p>
            <a:pPr algn="l"/>
            <a:r>
              <a:rPr lang="de-DE" sz="1800" dirty="0" smtClean="0">
                <a:latin typeface="Calibri" panose="020F0502020204030204" pitchFamily="34" charset="0"/>
                <a:cs typeface="Calibri" panose="020F0502020204030204" pitchFamily="34" charset="0"/>
              </a:rPr>
              <a:t>Der Begriff der Rechnung im Umsatzsteuerrecht</a:t>
            </a:r>
            <a:endParaRPr lang="de-DE" dirty="0">
              <a:latin typeface="Calibri" panose="020F0502020204030204" pitchFamily="34" charset="0"/>
              <a:cs typeface="Calibri" panose="020F0502020204030204" pitchFamily="34" charset="0"/>
            </a:endParaRPr>
          </a:p>
        </p:txBody>
      </p:sp>
      <p:pic>
        <p:nvPicPr>
          <p:cNvPr id="6" name="Grafik 5"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797152"/>
            <a:ext cx="1395056" cy="917784"/>
          </a:xfrm>
          <a:prstGeom prst="rect">
            <a:avLst/>
          </a:prstGeom>
        </p:spPr>
      </p:pic>
      <p:pic>
        <p:nvPicPr>
          <p:cNvPr id="7" name="Grafik 6"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5176" y="4797152"/>
            <a:ext cx="1395056" cy="917784"/>
          </a:xfrm>
          <a:prstGeom prst="rect">
            <a:avLst/>
          </a:prstGeom>
        </p:spPr>
      </p:pic>
      <p:sp>
        <p:nvSpPr>
          <p:cNvPr id="8"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4" name="Datumsplatzhalter 3"/>
          <p:cNvSpPr>
            <a:spLocks noGrp="1"/>
          </p:cNvSpPr>
          <p:nvPr>
            <p:ph type="dt" sz="half" idx="10"/>
          </p:nvPr>
        </p:nvSpPr>
        <p:spPr/>
        <p:txBody>
          <a:bodyPr/>
          <a:lstStyle/>
          <a:p>
            <a:pPr>
              <a:defRPr/>
            </a:pPr>
            <a:fld id="{9003996D-1F8B-4F8C-ADD3-8FBB29F4C8B1}"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9" name="Foliennummernplatzhalter 8"/>
          <p:cNvSpPr>
            <a:spLocks noGrp="1"/>
          </p:cNvSpPr>
          <p:nvPr>
            <p:ph type="sldNum" sz="quarter" idx="12"/>
          </p:nvPr>
        </p:nvSpPr>
        <p:spPr/>
        <p:txBody>
          <a:bodyPr/>
          <a:lstStyle/>
          <a:p>
            <a:pPr>
              <a:defRPr/>
            </a:pPr>
            <a:fld id="{BEA88772-2E14-493F-A726-E8A7A8CFB7CD}" type="slidenum">
              <a:rPr lang="de-DE" altLang="en-US" smtClean="0"/>
              <a:pPr>
                <a:defRPr/>
              </a:pPr>
              <a:t>25</a:t>
            </a:fld>
            <a:endParaRPr lang="de-DE" altLang="en-US"/>
          </a:p>
        </p:txBody>
      </p:sp>
    </p:spTree>
    <p:extLst>
      <p:ext uri="{BB962C8B-B14F-4D97-AF65-F5344CB8AC3E}">
        <p14:creationId xmlns:p14="http://schemas.microsoft.com/office/powerpoint/2010/main" val="29107305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2606" y="2420888"/>
            <a:ext cx="11411797" cy="4104456"/>
          </a:xfrm>
        </p:spPr>
        <p:txBody>
          <a:bodyPr/>
          <a:lstStyle/>
          <a:p>
            <a:pPr>
              <a:lnSpc>
                <a:spcPct val="150000"/>
              </a:lnSpc>
              <a:spcAft>
                <a:spcPts val="600"/>
              </a:spcAft>
            </a:pPr>
            <a:r>
              <a:rPr lang="de-DE" sz="2000" dirty="0" smtClean="0">
                <a:solidFill>
                  <a:srgbClr val="572381"/>
                </a:solidFill>
                <a:latin typeface="Calibri" panose="020F0502020204030204" pitchFamily="34" charset="0"/>
                <a:cs typeface="Calibri" panose="020F0502020204030204" pitchFamily="34" charset="0"/>
              </a:rPr>
              <a:t>Papier oder elektronische Rechnung möglich</a:t>
            </a:r>
          </a:p>
          <a:p>
            <a:pPr>
              <a:lnSpc>
                <a:spcPct val="150000"/>
              </a:lnSpc>
              <a:spcAft>
                <a:spcPts val="600"/>
              </a:spcAft>
            </a:pPr>
            <a:r>
              <a:rPr lang="de-DE" sz="2000" dirty="0" smtClean="0">
                <a:solidFill>
                  <a:srgbClr val="572381"/>
                </a:solidFill>
                <a:latin typeface="Calibri" panose="020F0502020204030204" pitchFamily="34" charset="0"/>
                <a:cs typeface="Calibri" panose="020F0502020204030204" pitchFamily="34" charset="0"/>
              </a:rPr>
              <a:t>Elektronische Rechnung</a:t>
            </a:r>
          </a:p>
          <a:p>
            <a:pPr lvl="1">
              <a:spcAft>
                <a:spcPts val="600"/>
              </a:spcAft>
            </a:pPr>
            <a:r>
              <a:rPr lang="de-DE" sz="1700" b="0" dirty="0" smtClean="0">
                <a:solidFill>
                  <a:srgbClr val="572381"/>
                </a:solidFill>
                <a:latin typeface="Calibri" panose="020F0502020204030204" pitchFamily="34" charset="0"/>
                <a:cs typeface="Calibri" panose="020F0502020204030204" pitchFamily="34" charset="0"/>
              </a:rPr>
              <a:t>Bei Übermittlung einer elektronischen Rechnung ist die Zustimmung des Rechnungsempfängers erforderlich, diese kann auch stillschweigend erteilt werden</a:t>
            </a:r>
          </a:p>
          <a:p>
            <a:pPr lvl="1">
              <a:spcAft>
                <a:spcPts val="600"/>
              </a:spcAft>
            </a:pPr>
            <a:r>
              <a:rPr lang="de-DE" sz="1700" b="0" dirty="0" smtClean="0">
                <a:solidFill>
                  <a:srgbClr val="572381"/>
                </a:solidFill>
                <a:latin typeface="Calibri" panose="020F0502020204030204" pitchFamily="34" charset="0"/>
                <a:cs typeface="Calibri" panose="020F0502020204030204" pitchFamily="34" charset="0"/>
              </a:rPr>
              <a:t>Mögliche Versandwege: E-Mail, Computerfax, Faxserver, Webdownloads, EDI-Verfahren </a:t>
            </a:r>
          </a:p>
          <a:p>
            <a:pPr lvl="1">
              <a:spcAft>
                <a:spcPts val="600"/>
              </a:spcAft>
            </a:pPr>
            <a:r>
              <a:rPr lang="de-DE" sz="1700" b="0" dirty="0" smtClean="0">
                <a:solidFill>
                  <a:srgbClr val="572381"/>
                </a:solidFill>
                <a:latin typeface="Calibri" panose="020F0502020204030204" pitchFamily="34" charset="0"/>
                <a:cs typeface="Calibri" panose="020F0502020204030204" pitchFamily="34" charset="0"/>
              </a:rPr>
              <a:t>Echtheit und Unversehrtheit des Inhaltes muss durch ein geeignetes Kontrollverfahren gesichert sein</a:t>
            </a:r>
          </a:p>
          <a:p>
            <a:pPr>
              <a:lnSpc>
                <a:spcPct val="150000"/>
              </a:lnSpc>
              <a:spcAft>
                <a:spcPts val="600"/>
              </a:spcAft>
            </a:pPr>
            <a:endParaRPr lang="de-DE" sz="1800" b="0" dirty="0"/>
          </a:p>
        </p:txBody>
      </p:sp>
      <p:sp>
        <p:nvSpPr>
          <p:cNvPr id="3" name="Titel 2"/>
          <p:cNvSpPr>
            <a:spLocks noGrp="1"/>
          </p:cNvSpPr>
          <p:nvPr>
            <p:ph type="title"/>
          </p:nvPr>
        </p:nvSpPr>
        <p:spPr>
          <a:xfrm>
            <a:off x="712862" y="476672"/>
            <a:ext cx="3240360" cy="635831"/>
          </a:xfrm>
        </p:spPr>
        <p:txBody>
          <a:bodyPr/>
          <a:lstStyle/>
          <a:p>
            <a:pPr algn="l"/>
            <a:r>
              <a:rPr lang="de-DE" sz="1800" dirty="0" smtClean="0">
                <a:latin typeface="Calibri" panose="020F0502020204030204" pitchFamily="34" charset="0"/>
                <a:cs typeface="Calibri" panose="020F0502020204030204" pitchFamily="34" charset="0"/>
              </a:rPr>
              <a:t>Übermittlung von Rechnungen</a:t>
            </a:r>
            <a:endParaRPr lang="de-D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5" name="Datumsplatzhalter 4"/>
          <p:cNvSpPr>
            <a:spLocks noGrp="1"/>
          </p:cNvSpPr>
          <p:nvPr>
            <p:ph type="dt" sz="half" idx="10"/>
          </p:nvPr>
        </p:nvSpPr>
        <p:spPr/>
        <p:txBody>
          <a:bodyPr/>
          <a:lstStyle/>
          <a:p>
            <a:pPr>
              <a:defRPr/>
            </a:pPr>
            <a:fld id="{4967C2B8-26AD-4168-B068-56D74A59AF42}" type="datetime1">
              <a:rPr lang="de-DE" altLang="en-US" smtClean="0"/>
              <a:t>06.07.2021</a:t>
            </a:fld>
            <a:endParaRPr lang="de-DE" altLang="en-US"/>
          </a:p>
        </p:txBody>
      </p:sp>
      <p:sp>
        <p:nvSpPr>
          <p:cNvPr id="6" name="Fußzeilenplatzhalter 5"/>
          <p:cNvSpPr>
            <a:spLocks noGrp="1"/>
          </p:cNvSpPr>
          <p:nvPr>
            <p:ph type="ftr" sz="quarter" idx="11"/>
          </p:nvPr>
        </p:nvSpPr>
        <p:spPr/>
        <p:txBody>
          <a:bodyPr/>
          <a:lstStyle/>
          <a:p>
            <a:pPr>
              <a:defRPr/>
            </a:pPr>
            <a:r>
              <a:rPr lang="de-DE" altLang="en-US" smtClean="0"/>
              <a:t>EKHN</a:t>
            </a:r>
            <a:endParaRPr lang="de-DE" altLang="en-US"/>
          </a:p>
        </p:txBody>
      </p:sp>
      <p:sp>
        <p:nvSpPr>
          <p:cNvPr id="7" name="Foliennummernplatzhalter 6"/>
          <p:cNvSpPr>
            <a:spLocks noGrp="1"/>
          </p:cNvSpPr>
          <p:nvPr>
            <p:ph type="sldNum" sz="quarter" idx="12"/>
          </p:nvPr>
        </p:nvSpPr>
        <p:spPr/>
        <p:txBody>
          <a:bodyPr/>
          <a:lstStyle/>
          <a:p>
            <a:pPr>
              <a:defRPr/>
            </a:pPr>
            <a:fld id="{BEA88772-2E14-493F-A726-E8A7A8CFB7CD}" type="slidenum">
              <a:rPr lang="de-DE" altLang="en-US" smtClean="0"/>
              <a:pPr>
                <a:defRPr/>
              </a:pPr>
              <a:t>26</a:t>
            </a:fld>
            <a:endParaRPr lang="de-DE" altLang="en-US"/>
          </a:p>
        </p:txBody>
      </p:sp>
    </p:spTree>
    <p:extLst>
      <p:ext uri="{BB962C8B-B14F-4D97-AF65-F5344CB8AC3E}">
        <p14:creationId xmlns:p14="http://schemas.microsoft.com/office/powerpoint/2010/main" val="11336227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84871" y="476672"/>
            <a:ext cx="2880320" cy="720080"/>
          </a:xfrm>
        </p:spPr>
        <p:txBody>
          <a:bodyPr/>
          <a:lstStyle/>
          <a:p>
            <a:pPr algn="l"/>
            <a:r>
              <a:rPr lang="de-DE" sz="1800" dirty="0" smtClean="0">
                <a:latin typeface="Calibri" panose="020F0502020204030204" pitchFamily="34" charset="0"/>
                <a:cs typeface="Calibri" panose="020F0502020204030204" pitchFamily="34" charset="0"/>
              </a:rPr>
              <a:t>Pflichtangaben - Grundfall</a:t>
            </a:r>
            <a:endParaRPr lang="de-DE" dirty="0">
              <a:latin typeface="Calibri" panose="020F0502020204030204" pitchFamily="34" charset="0"/>
              <a:cs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4000532281"/>
              </p:ext>
            </p:extLst>
          </p:nvPr>
        </p:nvGraphicFramePr>
        <p:xfrm>
          <a:off x="1202941" y="1997849"/>
          <a:ext cx="9628470" cy="3916680"/>
        </p:xfrm>
        <a:graphic>
          <a:graphicData uri="http://schemas.openxmlformats.org/drawingml/2006/table">
            <a:tbl>
              <a:tblPr firstRow="1" bandRow="1">
                <a:tableStyleId>{E8B1032C-EA38-4F05-BA0D-38AFFFC7BED3}</a:tableStyleId>
              </a:tblPr>
              <a:tblGrid>
                <a:gridCol w="8761899">
                  <a:extLst>
                    <a:ext uri="{9D8B030D-6E8A-4147-A177-3AD203B41FA5}">
                      <a16:colId xmlns="" xmlns:a16="http://schemas.microsoft.com/office/drawing/2014/main" val="1317879635"/>
                    </a:ext>
                  </a:extLst>
                </a:gridCol>
                <a:gridCol w="866571">
                  <a:extLst>
                    <a:ext uri="{9D8B030D-6E8A-4147-A177-3AD203B41FA5}">
                      <a16:colId xmlns="" xmlns:a16="http://schemas.microsoft.com/office/drawing/2014/main" val="2190803473"/>
                    </a:ext>
                  </a:extLst>
                </a:gridCol>
              </a:tblGrid>
              <a:tr h="370840">
                <a:tc>
                  <a:txBody>
                    <a:bodyPr/>
                    <a:lstStyle/>
                    <a:p>
                      <a:r>
                        <a:rPr lang="de-DE" sz="1600" b="0" dirty="0" smtClean="0">
                          <a:solidFill>
                            <a:srgbClr val="572381"/>
                          </a:solidFill>
                          <a:latin typeface="Calibri" panose="020F0502020204030204" pitchFamily="34" charset="0"/>
                          <a:cs typeface="Calibri" panose="020F0502020204030204" pitchFamily="34" charset="0"/>
                        </a:rPr>
                        <a:t>Vollständiger Name und Anschrift des leistenden Unternehmers</a:t>
                      </a:r>
                      <a:endParaRPr lang="de-DE" sz="1600" b="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082036490"/>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Vollständiger Name und Anschrift des Leistungsempfängers</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604643286"/>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Steuernummer oder USt-ID des </a:t>
                      </a:r>
                      <a:r>
                        <a:rPr lang="de-DE" sz="1600" u="sng" dirty="0" smtClean="0">
                          <a:solidFill>
                            <a:srgbClr val="572381"/>
                          </a:solidFill>
                          <a:latin typeface="Calibri" panose="020F0502020204030204" pitchFamily="34" charset="0"/>
                          <a:cs typeface="Calibri" panose="020F0502020204030204" pitchFamily="34" charset="0"/>
                        </a:rPr>
                        <a:t>leistenden </a:t>
                      </a:r>
                      <a:r>
                        <a:rPr lang="de-DE" sz="1600" u="none" dirty="0" smtClean="0">
                          <a:solidFill>
                            <a:srgbClr val="572381"/>
                          </a:solidFill>
                          <a:latin typeface="Calibri" panose="020F0502020204030204" pitchFamily="34" charset="0"/>
                          <a:cs typeface="Calibri" panose="020F0502020204030204" pitchFamily="34" charset="0"/>
                        </a:rPr>
                        <a:t>Unternehmers (Vorsicht bei Gutschriften)</a:t>
                      </a:r>
                      <a:endParaRPr lang="de-DE" sz="1600" u="sng"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1048322616"/>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Ausstellungsdatum der Rechnung</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362040955"/>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Fortlaufende Rechnungsnummer</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30709385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rgbClr val="572381"/>
                          </a:solidFill>
                          <a:latin typeface="Calibri" panose="020F0502020204030204" pitchFamily="34" charset="0"/>
                          <a:cs typeface="Calibri" panose="020F0502020204030204" pitchFamily="34" charset="0"/>
                        </a:rPr>
                        <a:t>Menge und Art der gelieferten Gegenstände oder Umfang und Art der sonstigen Leistung</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3888725677"/>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Zeitpunkt der Leistung (Kalendermonat) </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4195225597"/>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Entgelt</a:t>
                      </a:r>
                      <a:r>
                        <a:rPr lang="de-DE" sz="1600" baseline="0" dirty="0" smtClean="0">
                          <a:solidFill>
                            <a:srgbClr val="572381"/>
                          </a:solidFill>
                          <a:latin typeface="Calibri" panose="020F0502020204030204" pitchFamily="34" charset="0"/>
                          <a:cs typeface="Calibri" panose="020F0502020204030204" pitchFamily="34" charset="0"/>
                        </a:rPr>
                        <a:t> (=Nettobetrag), aufgeschlüsselt nach Steuersätzen</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1823736598"/>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Anzuwendende Steuersätze und Steuerbetrag; bei steuerfreien Leistungen Hinweis auf Steuerbefreiung </a:t>
                      </a:r>
                      <a:r>
                        <a:rPr lang="de-DE" sz="1600" b="1" dirty="0" smtClean="0">
                          <a:solidFill>
                            <a:srgbClr val="572381"/>
                          </a:solidFill>
                          <a:latin typeface="Calibri" panose="020F0502020204030204" pitchFamily="34" charset="0"/>
                          <a:cs typeface="Calibri" panose="020F0502020204030204" pitchFamily="34" charset="0"/>
                        </a:rPr>
                        <a:t>GILT NICHT FÜR KLEINUNTERNEHMER</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297945081"/>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Bei</a:t>
                      </a:r>
                      <a:r>
                        <a:rPr lang="de-DE" sz="1600" baseline="0" dirty="0" smtClean="0">
                          <a:solidFill>
                            <a:srgbClr val="572381"/>
                          </a:solidFill>
                          <a:latin typeface="Calibri" panose="020F0502020204030204" pitchFamily="34" charset="0"/>
                          <a:cs typeface="Calibri" panose="020F0502020204030204" pitchFamily="34" charset="0"/>
                        </a:rPr>
                        <a:t> Abrechnung mittels umsatzsteuerlicher Gutschrift: korrekte Bezeichnung als Gutschrift</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636988893"/>
                  </a:ext>
                </a:extLst>
              </a:tr>
            </a:tbl>
          </a:graphicData>
        </a:graphic>
      </p:graphicFrame>
      <p:sp>
        <p:nvSpPr>
          <p:cNvPr id="5"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 name="Datumsplatzhalter 1"/>
          <p:cNvSpPr>
            <a:spLocks noGrp="1"/>
          </p:cNvSpPr>
          <p:nvPr>
            <p:ph type="dt" sz="half" idx="10"/>
          </p:nvPr>
        </p:nvSpPr>
        <p:spPr/>
        <p:txBody>
          <a:bodyPr/>
          <a:lstStyle/>
          <a:p>
            <a:pPr>
              <a:defRPr/>
            </a:pPr>
            <a:fld id="{0C133531-09C1-4660-BA75-EE2977DA0A78}" type="datetime1">
              <a:rPr lang="de-DE" altLang="en-US" smtClean="0"/>
              <a:t>06.07.2021</a:t>
            </a:fld>
            <a:endParaRPr lang="de-DE" altLang="en-US"/>
          </a:p>
        </p:txBody>
      </p:sp>
      <p:sp>
        <p:nvSpPr>
          <p:cNvPr id="6" name="Fußzeilenplatzhalter 5"/>
          <p:cNvSpPr>
            <a:spLocks noGrp="1"/>
          </p:cNvSpPr>
          <p:nvPr>
            <p:ph type="ftr" sz="quarter" idx="11"/>
          </p:nvPr>
        </p:nvSpPr>
        <p:spPr/>
        <p:txBody>
          <a:bodyPr/>
          <a:lstStyle/>
          <a:p>
            <a:pPr>
              <a:defRPr/>
            </a:pPr>
            <a:r>
              <a:rPr lang="de-DE" altLang="en-US" smtClean="0"/>
              <a:t>EKHN</a:t>
            </a:r>
            <a:endParaRPr lang="de-DE" altLang="en-US"/>
          </a:p>
        </p:txBody>
      </p:sp>
      <p:sp>
        <p:nvSpPr>
          <p:cNvPr id="7" name="Foliennummernplatzhalter 6"/>
          <p:cNvSpPr>
            <a:spLocks noGrp="1"/>
          </p:cNvSpPr>
          <p:nvPr>
            <p:ph type="sldNum" sz="quarter" idx="12"/>
          </p:nvPr>
        </p:nvSpPr>
        <p:spPr/>
        <p:txBody>
          <a:bodyPr/>
          <a:lstStyle/>
          <a:p>
            <a:pPr>
              <a:defRPr/>
            </a:pPr>
            <a:fld id="{BEA88772-2E14-493F-A726-E8A7A8CFB7CD}" type="slidenum">
              <a:rPr lang="de-DE" altLang="en-US" smtClean="0"/>
              <a:pPr>
                <a:defRPr/>
              </a:pPr>
              <a:t>27</a:t>
            </a:fld>
            <a:endParaRPr lang="de-DE" altLang="en-US"/>
          </a:p>
        </p:txBody>
      </p:sp>
    </p:spTree>
    <p:extLst>
      <p:ext uri="{BB962C8B-B14F-4D97-AF65-F5344CB8AC3E}">
        <p14:creationId xmlns:p14="http://schemas.microsoft.com/office/powerpoint/2010/main" val="11605168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40854" y="476672"/>
            <a:ext cx="8712968" cy="720080"/>
          </a:xfrm>
        </p:spPr>
        <p:txBody>
          <a:bodyPr/>
          <a:lstStyle/>
          <a:p>
            <a:pPr algn="l"/>
            <a:r>
              <a:rPr lang="de-DE" sz="1800" dirty="0" smtClean="0">
                <a:latin typeface="Calibri" panose="020F0502020204030204" pitchFamily="34" charset="0"/>
                <a:cs typeface="Calibri" panose="020F0502020204030204" pitchFamily="34" charset="0"/>
              </a:rPr>
              <a:t>Pflichtangaben – Kleinbetragsrechnungen (Gesamtbetrag übersteigt nicht 250,00 Euro)</a:t>
            </a:r>
            <a:endParaRPr lang="de-DE" dirty="0">
              <a:latin typeface="Calibri" panose="020F0502020204030204" pitchFamily="34" charset="0"/>
              <a:cs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999065217"/>
              </p:ext>
            </p:extLst>
          </p:nvPr>
        </p:nvGraphicFramePr>
        <p:xfrm>
          <a:off x="1202941" y="1997849"/>
          <a:ext cx="9628470" cy="2433320"/>
        </p:xfrm>
        <a:graphic>
          <a:graphicData uri="http://schemas.openxmlformats.org/drawingml/2006/table">
            <a:tbl>
              <a:tblPr firstRow="1" bandRow="1">
                <a:tableStyleId>{E8B1032C-EA38-4F05-BA0D-38AFFFC7BED3}</a:tableStyleId>
              </a:tblPr>
              <a:tblGrid>
                <a:gridCol w="8761899">
                  <a:extLst>
                    <a:ext uri="{9D8B030D-6E8A-4147-A177-3AD203B41FA5}">
                      <a16:colId xmlns="" xmlns:a16="http://schemas.microsoft.com/office/drawing/2014/main" val="1317879635"/>
                    </a:ext>
                  </a:extLst>
                </a:gridCol>
                <a:gridCol w="866571">
                  <a:extLst>
                    <a:ext uri="{9D8B030D-6E8A-4147-A177-3AD203B41FA5}">
                      <a16:colId xmlns="" xmlns:a16="http://schemas.microsoft.com/office/drawing/2014/main" val="2190803473"/>
                    </a:ext>
                  </a:extLst>
                </a:gridCol>
              </a:tblGrid>
              <a:tr h="370840">
                <a:tc>
                  <a:txBody>
                    <a:bodyPr/>
                    <a:lstStyle/>
                    <a:p>
                      <a:r>
                        <a:rPr lang="de-DE" sz="1600" b="0" dirty="0" smtClean="0">
                          <a:solidFill>
                            <a:srgbClr val="572381"/>
                          </a:solidFill>
                          <a:latin typeface="Calibri" panose="020F0502020204030204" pitchFamily="34" charset="0"/>
                          <a:cs typeface="Calibri" panose="020F0502020204030204" pitchFamily="34" charset="0"/>
                        </a:rPr>
                        <a:t>Vollständiger Name und Anschrift des leistenden Unternehmers</a:t>
                      </a:r>
                      <a:endParaRPr lang="de-DE" sz="1600" b="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082036490"/>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Ausstellungsdatum der Rechnung</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3620409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rgbClr val="572381"/>
                          </a:solidFill>
                          <a:latin typeface="Calibri" panose="020F0502020204030204" pitchFamily="34" charset="0"/>
                          <a:cs typeface="Calibri" panose="020F0502020204030204" pitchFamily="34" charset="0"/>
                        </a:rPr>
                        <a:t>Menge und Art der gelieferten Gegenstände oder Umfang und Art der sonstigen Leistung</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3888725677"/>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Entgelt</a:t>
                      </a:r>
                      <a:r>
                        <a:rPr lang="de-DE" sz="1600" baseline="0" dirty="0" smtClean="0">
                          <a:solidFill>
                            <a:srgbClr val="572381"/>
                          </a:solidFill>
                          <a:latin typeface="Calibri" panose="020F0502020204030204" pitchFamily="34" charset="0"/>
                          <a:cs typeface="Calibri" panose="020F0502020204030204" pitchFamily="34" charset="0"/>
                        </a:rPr>
                        <a:t> und anzuwendender Steuerbetrag in einer Summe (Bruttobetrag)*</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1823736598"/>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Anzuwendender Steuersatz; bei steuerfreien Leistungen Hinweis auf Steuerbefreiung </a:t>
                      </a:r>
                      <a:r>
                        <a:rPr lang="de-DE" sz="1600" b="1" dirty="0" smtClean="0">
                          <a:solidFill>
                            <a:srgbClr val="572381"/>
                          </a:solidFill>
                          <a:latin typeface="Calibri" panose="020F0502020204030204" pitchFamily="34" charset="0"/>
                          <a:cs typeface="Calibri" panose="020F0502020204030204" pitchFamily="34" charset="0"/>
                        </a:rPr>
                        <a:t>GILT</a:t>
                      </a:r>
                      <a:r>
                        <a:rPr lang="de-DE" sz="1600" b="1" baseline="0" dirty="0" smtClean="0">
                          <a:solidFill>
                            <a:srgbClr val="572381"/>
                          </a:solidFill>
                          <a:latin typeface="Calibri" panose="020F0502020204030204" pitchFamily="34" charset="0"/>
                          <a:cs typeface="Calibri" panose="020F0502020204030204" pitchFamily="34" charset="0"/>
                        </a:rPr>
                        <a:t> NICHT FÜR KLEINUNTERNEHMER</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2297945081"/>
                  </a:ext>
                </a:extLst>
              </a:tr>
              <a:tr h="370840">
                <a:tc>
                  <a:txBody>
                    <a:bodyPr/>
                    <a:lstStyle/>
                    <a:p>
                      <a:r>
                        <a:rPr lang="de-DE" sz="1600" dirty="0" smtClean="0">
                          <a:solidFill>
                            <a:srgbClr val="572381"/>
                          </a:solidFill>
                          <a:latin typeface="Calibri" panose="020F0502020204030204" pitchFamily="34" charset="0"/>
                          <a:cs typeface="Calibri" panose="020F0502020204030204" pitchFamily="34" charset="0"/>
                        </a:rPr>
                        <a:t>Bei</a:t>
                      </a:r>
                      <a:r>
                        <a:rPr lang="de-DE" sz="1600" baseline="0" dirty="0" smtClean="0">
                          <a:solidFill>
                            <a:srgbClr val="572381"/>
                          </a:solidFill>
                          <a:latin typeface="Calibri" panose="020F0502020204030204" pitchFamily="34" charset="0"/>
                          <a:cs typeface="Calibri" panose="020F0502020204030204" pitchFamily="34" charset="0"/>
                        </a:rPr>
                        <a:t> Abrechnung mittels umsatzsteuerlicher Gutschrift: korrekte Bezeichnung als Gutschrift</a:t>
                      </a:r>
                      <a:endParaRPr lang="de-DE" sz="1600" dirty="0">
                        <a:solidFill>
                          <a:srgbClr val="572381"/>
                        </a:solidFill>
                        <a:latin typeface="Calibri" panose="020F0502020204030204" pitchFamily="34" charset="0"/>
                        <a:cs typeface="Calibri" panose="020F0502020204030204" pitchFamily="34" charset="0"/>
                      </a:endParaRPr>
                    </a:p>
                  </a:txBody>
                  <a:tcPr marL="122269" marR="122269"/>
                </a:tc>
                <a:tc>
                  <a:txBody>
                    <a:bodyPr/>
                    <a:lstStyle/>
                    <a:p>
                      <a:endParaRPr lang="de-DE" dirty="0"/>
                    </a:p>
                  </a:txBody>
                  <a:tcPr marL="122269" marR="122269"/>
                </a:tc>
                <a:extLst>
                  <a:ext uri="{0D108BD9-81ED-4DB2-BD59-A6C34878D82A}">
                    <a16:rowId xmlns="" xmlns:a16="http://schemas.microsoft.com/office/drawing/2014/main" val="636988893"/>
                  </a:ext>
                </a:extLst>
              </a:tr>
            </a:tbl>
          </a:graphicData>
        </a:graphic>
      </p:graphicFrame>
      <p:sp>
        <p:nvSpPr>
          <p:cNvPr id="2" name="Textfeld 1"/>
          <p:cNvSpPr txBox="1"/>
          <p:nvPr/>
        </p:nvSpPr>
        <p:spPr>
          <a:xfrm>
            <a:off x="1299177" y="5445224"/>
            <a:ext cx="9050856" cy="492443"/>
          </a:xfrm>
          <a:prstGeom prst="rect">
            <a:avLst/>
          </a:prstGeom>
          <a:noFill/>
        </p:spPr>
        <p:txBody>
          <a:bodyPr wrap="square" rtlCol="0">
            <a:spAutoFit/>
          </a:bodyPr>
          <a:lstStyle/>
          <a:p>
            <a:r>
              <a:rPr lang="de-DE" sz="1400" dirty="0" smtClean="0">
                <a:solidFill>
                  <a:srgbClr val="572381"/>
                </a:solidFill>
                <a:latin typeface="Calibri" panose="020F0502020204030204" pitchFamily="34" charset="0"/>
                <a:cs typeface="Calibri" panose="020F0502020204030204" pitchFamily="34" charset="0"/>
              </a:rPr>
              <a:t>*</a:t>
            </a:r>
            <a:r>
              <a:rPr lang="de-DE" sz="1200" dirty="0" smtClean="0">
                <a:solidFill>
                  <a:srgbClr val="572381"/>
                </a:solidFill>
                <a:latin typeface="Calibri" panose="020F0502020204030204" pitchFamily="34" charset="0"/>
                <a:cs typeface="Calibri" panose="020F0502020204030204" pitchFamily="34" charset="0"/>
              </a:rPr>
              <a:t>Wird </a:t>
            </a:r>
            <a:r>
              <a:rPr lang="de-DE" sz="1200" dirty="0">
                <a:solidFill>
                  <a:srgbClr val="572381"/>
                </a:solidFill>
                <a:latin typeface="Calibri" panose="020F0502020204030204" pitchFamily="34" charset="0"/>
                <a:cs typeface="Calibri" panose="020F0502020204030204" pitchFamily="34" charset="0"/>
              </a:rPr>
              <a:t>in einer Rechnung über verschiedene Leistungen abgerechnet, die verschiedenen Steuersätzen unterliegen, sind für die verschiedenen Steuersätzen unterliegenden Leistungen die jeweiligen </a:t>
            </a:r>
            <a:r>
              <a:rPr lang="de-DE" sz="1200" dirty="0" smtClean="0">
                <a:solidFill>
                  <a:srgbClr val="572381"/>
                </a:solidFill>
                <a:latin typeface="Calibri" panose="020F0502020204030204" pitchFamily="34" charset="0"/>
                <a:cs typeface="Calibri" panose="020F0502020204030204" pitchFamily="34" charset="0"/>
              </a:rPr>
              <a:t>Summen anzugeben.</a:t>
            </a:r>
            <a:endParaRPr lang="de-DE" sz="1200" dirty="0">
              <a:solidFill>
                <a:srgbClr val="572381"/>
              </a:solidFill>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6" name="Datumsplatzhalter 5"/>
          <p:cNvSpPr>
            <a:spLocks noGrp="1"/>
          </p:cNvSpPr>
          <p:nvPr>
            <p:ph type="dt" sz="half" idx="10"/>
          </p:nvPr>
        </p:nvSpPr>
        <p:spPr/>
        <p:txBody>
          <a:bodyPr/>
          <a:lstStyle/>
          <a:p>
            <a:pPr>
              <a:defRPr/>
            </a:pPr>
            <a:fld id="{5D372041-A6F3-4271-9119-8D750EF51038}" type="datetime1">
              <a:rPr lang="de-DE" altLang="en-US" smtClean="0"/>
              <a:t>06.07.2021</a:t>
            </a:fld>
            <a:endParaRPr lang="de-DE" altLang="en-US"/>
          </a:p>
        </p:txBody>
      </p:sp>
      <p:sp>
        <p:nvSpPr>
          <p:cNvPr id="7" name="Fußzeilenplatzhalter 6"/>
          <p:cNvSpPr>
            <a:spLocks noGrp="1"/>
          </p:cNvSpPr>
          <p:nvPr>
            <p:ph type="ftr" sz="quarter" idx="11"/>
          </p:nvPr>
        </p:nvSpPr>
        <p:spPr/>
        <p:txBody>
          <a:bodyPr/>
          <a:lstStyle/>
          <a:p>
            <a:pPr>
              <a:defRPr/>
            </a:pPr>
            <a:r>
              <a:rPr lang="de-DE" altLang="en-US" smtClean="0"/>
              <a:t>EKHN</a:t>
            </a:r>
            <a:endParaRPr lang="de-DE" altLang="en-US"/>
          </a:p>
        </p:txBody>
      </p:sp>
      <p:sp>
        <p:nvSpPr>
          <p:cNvPr id="8" name="Foliennummernplatzhalter 7"/>
          <p:cNvSpPr>
            <a:spLocks noGrp="1"/>
          </p:cNvSpPr>
          <p:nvPr>
            <p:ph type="sldNum" sz="quarter" idx="12"/>
          </p:nvPr>
        </p:nvSpPr>
        <p:spPr/>
        <p:txBody>
          <a:bodyPr/>
          <a:lstStyle/>
          <a:p>
            <a:pPr>
              <a:defRPr/>
            </a:pPr>
            <a:fld id="{BEA88772-2E14-493F-A726-E8A7A8CFB7CD}" type="slidenum">
              <a:rPr lang="de-DE" altLang="en-US" smtClean="0"/>
              <a:pPr>
                <a:defRPr/>
              </a:pPr>
              <a:t>28</a:t>
            </a:fld>
            <a:endParaRPr lang="de-DE" altLang="en-US"/>
          </a:p>
        </p:txBody>
      </p:sp>
    </p:spTree>
    <p:extLst>
      <p:ext uri="{BB962C8B-B14F-4D97-AF65-F5344CB8AC3E}">
        <p14:creationId xmlns:p14="http://schemas.microsoft.com/office/powerpoint/2010/main" val="20182620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2606" y="2420888"/>
            <a:ext cx="11411797" cy="4104456"/>
          </a:xfrm>
        </p:spPr>
        <p:txBody>
          <a:bodyPr/>
          <a:lstStyle/>
          <a:p>
            <a:pPr marL="0" indent="0" algn="ctr">
              <a:spcAft>
                <a:spcPts val="600"/>
              </a:spcAft>
              <a:buNone/>
            </a:pPr>
            <a:r>
              <a:rPr lang="de-DE" sz="2200" dirty="0" smtClean="0">
                <a:solidFill>
                  <a:srgbClr val="572381"/>
                </a:solidFill>
                <a:latin typeface="Calibri" panose="020F0502020204030204" pitchFamily="34" charset="0"/>
                <a:cs typeface="Calibri" panose="020F0502020204030204" pitchFamily="34" charset="0"/>
              </a:rPr>
              <a:t>Kleinunternehmer dürfen keine Rechnungen mit gesondertem Steuerausweis ausstellen </a:t>
            </a:r>
          </a:p>
          <a:p>
            <a:pPr marL="400050" lvl="1" indent="0">
              <a:spcAft>
                <a:spcPts val="600"/>
              </a:spcAft>
              <a:buNone/>
            </a:pPr>
            <a:endParaRPr lang="de-DE" sz="1200" dirty="0" smtClean="0">
              <a:solidFill>
                <a:srgbClr val="572381"/>
              </a:solidFill>
              <a:latin typeface="Calibri" panose="020F0502020204030204" pitchFamily="34" charset="0"/>
              <a:cs typeface="Calibri" panose="020F0502020204030204" pitchFamily="34" charset="0"/>
            </a:endParaRPr>
          </a:p>
          <a:p>
            <a:pPr marL="400050" lvl="1" indent="0">
              <a:spcBef>
                <a:spcPts val="200"/>
              </a:spcBef>
              <a:spcAft>
                <a:spcPts val="600"/>
              </a:spcAft>
              <a:buNone/>
            </a:pPr>
            <a:r>
              <a:rPr lang="de-DE" sz="1600" dirty="0" smtClean="0">
                <a:solidFill>
                  <a:srgbClr val="572381"/>
                </a:solidFill>
                <a:latin typeface="Calibri" panose="020F0502020204030204" pitchFamily="34" charset="0"/>
                <a:cs typeface="Calibri" panose="020F0502020204030204" pitchFamily="34" charset="0"/>
              </a:rPr>
              <a:t>Folgen einer Rechnungsausstellung mit gesondertem Steuerausweis durch Kleinunternehmer:</a:t>
            </a:r>
          </a:p>
          <a:p>
            <a:pPr lvl="1">
              <a:spcBef>
                <a:spcPts val="200"/>
              </a:spcBef>
              <a:spcAft>
                <a:spcPts val="0"/>
              </a:spcAft>
            </a:pPr>
            <a:r>
              <a:rPr lang="de-DE" sz="1600" b="0" dirty="0" smtClean="0">
                <a:solidFill>
                  <a:srgbClr val="572381"/>
                </a:solidFill>
                <a:latin typeface="Calibri" panose="020F0502020204030204" pitchFamily="34" charset="0"/>
                <a:cs typeface="Calibri" panose="020F0502020204030204" pitchFamily="34" charset="0"/>
              </a:rPr>
              <a:t>Kleinunternehmer schuldet die ausgewiesene Steuer („Strafsteuer“ nach § 14c Abs. 2 UStG)</a:t>
            </a:r>
          </a:p>
          <a:p>
            <a:pPr lvl="1">
              <a:spcBef>
                <a:spcPts val="200"/>
              </a:spcBef>
              <a:spcAft>
                <a:spcPts val="0"/>
              </a:spcAft>
            </a:pPr>
            <a:r>
              <a:rPr lang="de-DE" sz="1600" b="0" dirty="0" smtClean="0">
                <a:solidFill>
                  <a:srgbClr val="572381"/>
                </a:solidFill>
                <a:latin typeface="Calibri" panose="020F0502020204030204" pitchFamily="34" charset="0"/>
                <a:cs typeface="Calibri" panose="020F0502020204030204" pitchFamily="34" charset="0"/>
              </a:rPr>
              <a:t>Leistungsempfänger kann jedoch keinen Vorsteuerabzug geltend machen</a:t>
            </a:r>
          </a:p>
          <a:p>
            <a:pPr marL="457200" lvl="1" indent="0">
              <a:spcBef>
                <a:spcPts val="200"/>
              </a:spcBef>
              <a:spcAft>
                <a:spcPts val="0"/>
              </a:spcAft>
              <a:buNone/>
            </a:pPr>
            <a:endParaRPr lang="de-DE" sz="1600" dirty="0" smtClean="0">
              <a:solidFill>
                <a:srgbClr val="572381"/>
              </a:solidFill>
              <a:latin typeface="Calibri" panose="020F0502020204030204" pitchFamily="34" charset="0"/>
              <a:cs typeface="Calibri" panose="020F0502020204030204" pitchFamily="34" charset="0"/>
            </a:endParaRPr>
          </a:p>
          <a:p>
            <a:pPr marL="57150" indent="0">
              <a:spcBef>
                <a:spcPts val="200"/>
              </a:spcBef>
              <a:spcAft>
                <a:spcPts val="0"/>
              </a:spcAft>
              <a:buNone/>
            </a:pPr>
            <a:r>
              <a:rPr lang="de-DE" sz="2000" dirty="0" smtClean="0">
                <a:solidFill>
                  <a:srgbClr val="572381"/>
                </a:solidFill>
                <a:latin typeface="Calibri" panose="020F0502020204030204" pitchFamily="34" charset="0"/>
                <a:cs typeface="Calibri" panose="020F0502020204030204" pitchFamily="34" charset="0"/>
              </a:rPr>
              <a:t>Daher:</a:t>
            </a:r>
          </a:p>
          <a:p>
            <a:pPr lvl="1">
              <a:spcBef>
                <a:spcPts val="200"/>
              </a:spcBef>
              <a:spcAft>
                <a:spcPts val="0"/>
              </a:spcAft>
            </a:pPr>
            <a:r>
              <a:rPr lang="de-DE" sz="1600" b="0" dirty="0" smtClean="0">
                <a:solidFill>
                  <a:srgbClr val="572381"/>
                </a:solidFill>
                <a:latin typeface="Calibri" panose="020F0502020204030204" pitchFamily="34" charset="0"/>
                <a:cs typeface="Calibri" panose="020F0502020204030204" pitchFamily="34" charset="0"/>
              </a:rPr>
              <a:t>Besondere Vorsicht, wenn Leistungsempfänger mittels umsatzsteuerlicher Gutschrift abrechnet</a:t>
            </a:r>
          </a:p>
          <a:p>
            <a:pPr lvl="1">
              <a:spcBef>
                <a:spcPts val="200"/>
              </a:spcBef>
              <a:spcAft>
                <a:spcPts val="0"/>
              </a:spcAft>
            </a:pPr>
            <a:r>
              <a:rPr lang="de-DE" sz="1600" b="0" dirty="0" smtClean="0">
                <a:solidFill>
                  <a:srgbClr val="572381"/>
                </a:solidFill>
                <a:latin typeface="Calibri" panose="020F0502020204030204" pitchFamily="34" charset="0"/>
                <a:cs typeface="Calibri" panose="020F0502020204030204" pitchFamily="34" charset="0"/>
              </a:rPr>
              <a:t>Bei Rechnungsausstellung sollte auf Kleinunternehmereigenschaft hingewiesen werden</a:t>
            </a:r>
          </a:p>
          <a:p>
            <a:pPr lvl="1">
              <a:spcBef>
                <a:spcPts val="200"/>
              </a:spcBef>
              <a:spcAft>
                <a:spcPts val="0"/>
              </a:spcAft>
              <a:buFont typeface="Arial" panose="020B0604020202020204" pitchFamily="34" charset="0"/>
              <a:buChar char="•"/>
            </a:pPr>
            <a:endParaRPr lang="de-DE" sz="1600" dirty="0" smtClean="0">
              <a:solidFill>
                <a:srgbClr val="572381"/>
              </a:solidFill>
            </a:endParaRPr>
          </a:p>
          <a:p>
            <a:pPr lvl="1">
              <a:spcBef>
                <a:spcPts val="200"/>
              </a:spcBef>
              <a:spcAft>
                <a:spcPts val="0"/>
              </a:spcAft>
              <a:buFont typeface="Arial" panose="020B0604020202020204" pitchFamily="34" charset="0"/>
              <a:buChar char="•"/>
            </a:pPr>
            <a:endParaRPr lang="de-DE" sz="1600" dirty="0" smtClean="0">
              <a:solidFill>
                <a:srgbClr val="572381"/>
              </a:solidFill>
            </a:endParaRPr>
          </a:p>
          <a:p>
            <a:pPr lvl="1">
              <a:spcBef>
                <a:spcPts val="200"/>
              </a:spcBef>
              <a:spcAft>
                <a:spcPts val="0"/>
              </a:spcAft>
            </a:pPr>
            <a:endParaRPr lang="de-DE" sz="1600" dirty="0" smtClean="0">
              <a:solidFill>
                <a:srgbClr val="572381"/>
              </a:solidFill>
            </a:endParaRPr>
          </a:p>
          <a:p>
            <a:pPr lvl="1">
              <a:spcAft>
                <a:spcPts val="600"/>
              </a:spcAft>
            </a:pPr>
            <a:endParaRPr lang="de-DE" sz="1600" dirty="0">
              <a:solidFill>
                <a:srgbClr val="572381"/>
              </a:solidFill>
            </a:endParaRPr>
          </a:p>
          <a:p>
            <a:pPr>
              <a:spcAft>
                <a:spcPts val="600"/>
              </a:spcAft>
            </a:pPr>
            <a:endParaRPr lang="de-DE" sz="2000" dirty="0">
              <a:solidFill>
                <a:srgbClr val="572381"/>
              </a:solidFill>
            </a:endParaRPr>
          </a:p>
        </p:txBody>
      </p:sp>
      <p:sp>
        <p:nvSpPr>
          <p:cNvPr id="3" name="Titel 2"/>
          <p:cNvSpPr>
            <a:spLocks noGrp="1"/>
          </p:cNvSpPr>
          <p:nvPr>
            <p:ph type="title"/>
          </p:nvPr>
        </p:nvSpPr>
        <p:spPr>
          <a:xfrm>
            <a:off x="640854" y="476671"/>
            <a:ext cx="4752528" cy="491815"/>
          </a:xfrm>
        </p:spPr>
        <p:txBody>
          <a:bodyPr/>
          <a:lstStyle/>
          <a:p>
            <a:pPr algn="l"/>
            <a:r>
              <a:rPr lang="de-DE" sz="1800" dirty="0" smtClean="0">
                <a:latin typeface="Calibri" panose="020F0502020204030204" pitchFamily="34" charset="0"/>
                <a:cs typeface="Calibri" panose="020F0502020204030204" pitchFamily="34" charset="0"/>
              </a:rPr>
              <a:t>Rechnungsausstellung durch Kleinunternehmer</a:t>
            </a:r>
            <a:endParaRPr lang="de-DE" dirty="0">
              <a:latin typeface="Calibri" panose="020F0502020204030204" pitchFamily="34" charset="0"/>
              <a:cs typeface="Calibri" panose="020F0502020204030204" pitchFamily="34" charset="0"/>
            </a:endParaRPr>
          </a:p>
        </p:txBody>
      </p:sp>
      <p:pic>
        <p:nvPicPr>
          <p:cNvPr id="4" name="Grafik 3"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242" y="2276872"/>
            <a:ext cx="1395056" cy="917784"/>
          </a:xfrm>
          <a:prstGeom prst="rect">
            <a:avLst/>
          </a:prstGeom>
        </p:spPr>
      </p:pic>
      <p:pic>
        <p:nvPicPr>
          <p:cNvPr id="5" name="Grafik 4"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4022" y="2276872"/>
            <a:ext cx="1395056" cy="917784"/>
          </a:xfrm>
          <a:prstGeom prst="rect">
            <a:avLst/>
          </a:prstGeom>
        </p:spPr>
      </p:pic>
      <p:sp>
        <p:nvSpPr>
          <p:cNvPr id="6"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7" name="Datumsplatzhalter 6"/>
          <p:cNvSpPr>
            <a:spLocks noGrp="1"/>
          </p:cNvSpPr>
          <p:nvPr>
            <p:ph type="dt" sz="half" idx="10"/>
          </p:nvPr>
        </p:nvSpPr>
        <p:spPr/>
        <p:txBody>
          <a:bodyPr/>
          <a:lstStyle/>
          <a:p>
            <a:pPr>
              <a:defRPr/>
            </a:pPr>
            <a:fld id="{8A5C441F-523C-49D1-93CF-EB50189D9B64}" type="datetime1">
              <a:rPr lang="de-DE" altLang="en-US" smtClean="0"/>
              <a:t>06.07.2021</a:t>
            </a:fld>
            <a:endParaRPr lang="de-DE" altLang="en-US"/>
          </a:p>
        </p:txBody>
      </p:sp>
      <p:sp>
        <p:nvSpPr>
          <p:cNvPr id="8" name="Fußzeilenplatzhalter 7" hidden="1"/>
          <p:cNvSpPr>
            <a:spLocks noGrp="1"/>
          </p:cNvSpPr>
          <p:nvPr>
            <p:ph type="ftr" sz="quarter" idx="11"/>
          </p:nvPr>
        </p:nvSpPr>
        <p:spPr/>
        <p:txBody>
          <a:bodyPr/>
          <a:lstStyle/>
          <a:p>
            <a:pPr>
              <a:defRPr/>
            </a:pPr>
            <a:r>
              <a:rPr lang="de-DE" altLang="en-US" smtClean="0"/>
              <a:t>EKHN</a:t>
            </a:r>
            <a:endParaRPr lang="de-DE" altLang="en-US"/>
          </a:p>
        </p:txBody>
      </p:sp>
      <p:sp>
        <p:nvSpPr>
          <p:cNvPr id="9" name="Foliennummernplatzhalter 8"/>
          <p:cNvSpPr>
            <a:spLocks noGrp="1"/>
          </p:cNvSpPr>
          <p:nvPr>
            <p:ph type="sldNum" sz="quarter" idx="12"/>
          </p:nvPr>
        </p:nvSpPr>
        <p:spPr/>
        <p:txBody>
          <a:bodyPr/>
          <a:lstStyle/>
          <a:p>
            <a:pPr>
              <a:defRPr/>
            </a:pPr>
            <a:fld id="{BEA88772-2E14-493F-A726-E8A7A8CFB7CD}" type="slidenum">
              <a:rPr lang="de-DE" altLang="en-US" smtClean="0"/>
              <a:pPr>
                <a:defRPr/>
              </a:pPr>
              <a:t>29</a:t>
            </a:fld>
            <a:endParaRPr lang="de-DE" altLang="en-US"/>
          </a:p>
        </p:txBody>
      </p:sp>
    </p:spTree>
    <p:extLst>
      <p:ext uri="{BB962C8B-B14F-4D97-AF65-F5344CB8AC3E}">
        <p14:creationId xmlns:p14="http://schemas.microsoft.com/office/powerpoint/2010/main" val="16020805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16AFF52-5909-4BEF-B028-738A0F083186}"/>
              </a:ext>
            </a:extLst>
          </p:cNvPr>
          <p:cNvGraphicFramePr>
            <a:graphicFrameLocks noChangeAspect="1"/>
          </p:cNvGraphicFramePr>
          <p:nvPr>
            <p:custDataLst>
              <p:tags r:id="rId2"/>
            </p:custDataLst>
            <p:extLst>
              <p:ext uri="{D42A27DB-BD31-4B8C-83A1-F6EECF244321}">
                <p14:modId xmlns:p14="http://schemas.microsoft.com/office/powerpoint/2010/main" val="3626777754"/>
              </p:ext>
            </p:ext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48165" name="think-cell Slide" r:id="rId5" imgW="338" imgH="344" progId="TCLayout.ActiveDocument.1">
                  <p:embed/>
                </p:oleObj>
              </mc:Choice>
              <mc:Fallback>
                <p:oleObj name="think-cell Slide" r:id="rId5" imgW="338" imgH="344"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xmlns="" id="{9B07319D-9412-41A5-8B92-3C058D7EA765}"/>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INFORMATIONSVERANSTALTUNG UMSATZSTEUER</a:t>
            </a:r>
          </a:p>
          <a:p>
            <a:endParaRPr lang="de-DE" dirty="0">
              <a:latin typeface="Calibri" panose="020F0502020204030204" pitchFamily="34" charset="0"/>
              <a:cs typeface="Calibri" panose="020F0502020204030204" pitchFamily="34" charset="0"/>
            </a:endParaRPr>
          </a:p>
          <a:p>
            <a:pPr>
              <a:spcAft>
                <a:spcPts val="600"/>
              </a:spcAft>
            </a:pPr>
            <a:endParaRPr lang="de-DE" sz="2800" dirty="0"/>
          </a:p>
          <a:p>
            <a:pPr>
              <a:spcAft>
                <a:spcPts val="600"/>
              </a:spcAft>
            </a:pPr>
            <a:endParaRPr lang="de-DE" sz="2800" dirty="0"/>
          </a:p>
        </p:txBody>
      </p:sp>
      <p:sp>
        <p:nvSpPr>
          <p:cNvPr id="28" name="Title 1">
            <a:extLst>
              <a:ext uri="{FF2B5EF4-FFF2-40B4-BE49-F238E27FC236}">
                <a16:creationId xmlns:a16="http://schemas.microsoft.com/office/drawing/2014/main" xmlns="" id="{B8CA7CF8-22F2-2348-80C5-1F33FF2FDD85}"/>
              </a:ext>
            </a:extLst>
          </p:cNvPr>
          <p:cNvSpPr txBox="1">
            <a:spLocks/>
          </p:cNvSpPr>
          <p:nvPr/>
        </p:nvSpPr>
        <p:spPr>
          <a:xfrm>
            <a:off x="444183" y="640080"/>
            <a:ext cx="11338561"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de-DE" dirty="0"/>
          </a:p>
        </p:txBody>
      </p:sp>
      <p:grpSp>
        <p:nvGrpSpPr>
          <p:cNvPr id="51" name="Group 50">
            <a:extLst>
              <a:ext uri="{FF2B5EF4-FFF2-40B4-BE49-F238E27FC236}">
                <a16:creationId xmlns:a16="http://schemas.microsoft.com/office/drawing/2014/main" xmlns="" id="{5395E155-2E71-415F-9DEF-4F1408FBD21E}"/>
              </a:ext>
            </a:extLst>
          </p:cNvPr>
          <p:cNvGrpSpPr/>
          <p:nvPr/>
        </p:nvGrpSpPr>
        <p:grpSpPr>
          <a:xfrm>
            <a:off x="464351" y="3749618"/>
            <a:ext cx="11318393" cy="576000"/>
            <a:chOff x="442912" y="2846337"/>
            <a:chExt cx="11301594" cy="576000"/>
          </a:xfrm>
        </p:grpSpPr>
        <p:sp>
          <p:nvSpPr>
            <p:cNvPr id="37" name="Content Placeholder 8">
              <a:extLst>
                <a:ext uri="{FF2B5EF4-FFF2-40B4-BE49-F238E27FC236}">
                  <a16:creationId xmlns:a16="http://schemas.microsoft.com/office/drawing/2014/main" xmlns="" id="{1BE4A207-CB83-448A-82E9-638ECC564CA5}"/>
                </a:ext>
              </a:extLst>
            </p:cNvPr>
            <p:cNvSpPr txBox="1">
              <a:spLocks/>
            </p:cNvSpPr>
            <p:nvPr/>
          </p:nvSpPr>
          <p:spPr>
            <a:xfrm>
              <a:off x="1217528"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Die Umsatzsteuer-Voranmeldung</a:t>
              </a:r>
              <a:endParaRPr lang="de-DE" sz="1800" dirty="0">
                <a:solidFill>
                  <a:srgbClr val="572381"/>
                </a:solidFill>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xmlns="" id="{547B234C-4343-49CB-AF88-3A076A91FC70}"/>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8</a:t>
              </a:r>
            </a:p>
          </p:txBody>
        </p:sp>
        <p:sp>
          <p:nvSpPr>
            <p:cNvPr id="39" name="TextBox 38">
              <a:extLst>
                <a:ext uri="{FF2B5EF4-FFF2-40B4-BE49-F238E27FC236}">
                  <a16:creationId xmlns:a16="http://schemas.microsoft.com/office/drawing/2014/main" xmlns="" id="{0D6ADDFA-C20A-4EDC-B167-215D19B689D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43</a:t>
              </a:r>
              <a:endParaRPr lang="de-DE" sz="2800" b="1" dirty="0">
                <a:solidFill>
                  <a:schemeClr val="bg1"/>
                </a:solidFill>
              </a:endParaRPr>
            </a:p>
          </p:txBody>
        </p:sp>
      </p:grpSp>
      <p:grpSp>
        <p:nvGrpSpPr>
          <p:cNvPr id="22" name="Group 21">
            <a:extLst>
              <a:ext uri="{FF2B5EF4-FFF2-40B4-BE49-F238E27FC236}">
                <a16:creationId xmlns:a16="http://schemas.microsoft.com/office/drawing/2014/main" xmlns="" id="{D3986FA0-BD67-4EF3-8229-21195625ADB3}"/>
              </a:ext>
            </a:extLst>
          </p:cNvPr>
          <p:cNvGrpSpPr/>
          <p:nvPr/>
        </p:nvGrpSpPr>
        <p:grpSpPr>
          <a:xfrm>
            <a:off x="451972" y="4469698"/>
            <a:ext cx="11318393" cy="576000"/>
            <a:chOff x="442912" y="2846337"/>
            <a:chExt cx="11301594" cy="576000"/>
          </a:xfrm>
        </p:grpSpPr>
        <p:sp>
          <p:nvSpPr>
            <p:cNvPr id="23" name="Content Placeholder 8">
              <a:extLst>
                <a:ext uri="{FF2B5EF4-FFF2-40B4-BE49-F238E27FC236}">
                  <a16:creationId xmlns:a16="http://schemas.microsoft.com/office/drawing/2014/main" xmlns="" id="{6EEF33E6-3EF3-4861-8DC4-8B053AFE1D13}"/>
                </a:ext>
              </a:extLst>
            </p:cNvPr>
            <p:cNvSpPr txBox="1">
              <a:spLocks/>
            </p:cNvSpPr>
            <p:nvPr/>
          </p:nvSpPr>
          <p:spPr>
            <a:xfrm>
              <a:off x="1217527" y="2846337"/>
              <a:ext cx="10526979"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Praxisfall Gemeindefest</a:t>
              </a:r>
              <a:endParaRPr lang="de-DE" sz="1800" dirty="0">
                <a:solidFill>
                  <a:srgbClr val="572381"/>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xmlns="" id="{A1802FCF-2921-47B3-AA6E-7DADCC46DA60}"/>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9</a:t>
              </a:r>
            </a:p>
          </p:txBody>
        </p:sp>
        <p:sp>
          <p:nvSpPr>
            <p:cNvPr id="25" name="TextBox 24">
              <a:extLst>
                <a:ext uri="{FF2B5EF4-FFF2-40B4-BE49-F238E27FC236}">
                  <a16:creationId xmlns:a16="http://schemas.microsoft.com/office/drawing/2014/main" xmlns="" id="{9EFD920F-8C6B-45CC-B987-9318FE455C1C}"/>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smtClean="0">
                  <a:solidFill>
                    <a:schemeClr val="bg1"/>
                  </a:solidFill>
                </a:rPr>
                <a:t>47</a:t>
              </a:r>
              <a:endParaRPr lang="de-DE" sz="2800" b="1" dirty="0">
                <a:solidFill>
                  <a:schemeClr val="bg1"/>
                </a:solidFill>
              </a:endParaRPr>
            </a:p>
          </p:txBody>
        </p:sp>
      </p:grpSp>
      <p:sp>
        <p:nvSpPr>
          <p:cNvPr id="3" name="Date Placeholder 2">
            <a:extLst>
              <a:ext uri="{FF2B5EF4-FFF2-40B4-BE49-F238E27FC236}">
                <a16:creationId xmlns:a16="http://schemas.microsoft.com/office/drawing/2014/main" xmlns="" id="{B5032D75-63BC-4108-B6E7-5EF0D641FC94}"/>
              </a:ext>
            </a:extLst>
          </p:cNvPr>
          <p:cNvSpPr>
            <a:spLocks noGrp="1"/>
          </p:cNvSpPr>
          <p:nvPr>
            <p:ph type="dt" sz="half" idx="10"/>
          </p:nvPr>
        </p:nvSpPr>
        <p:spPr/>
        <p:txBody>
          <a:bodyPr/>
          <a:lstStyle/>
          <a:p>
            <a:fld id="{298F0CCD-3466-46A2-BAA3-DEEEFB40A63D}" type="datetime1">
              <a:rPr lang="de-DE" smtClean="0"/>
              <a:t>06.07.2021</a:t>
            </a:fld>
            <a:endParaRPr lang="de-DE" dirty="0"/>
          </a:p>
        </p:txBody>
      </p:sp>
      <p:sp>
        <p:nvSpPr>
          <p:cNvPr id="5" name="Footer Placeholder 4">
            <a:extLst>
              <a:ext uri="{FF2B5EF4-FFF2-40B4-BE49-F238E27FC236}">
                <a16:creationId xmlns:a16="http://schemas.microsoft.com/office/drawing/2014/main" xmlns="" id="{46E18843-6049-4337-A0D8-335ACAD7078C}"/>
              </a:ext>
            </a:extLst>
          </p:cNvPr>
          <p:cNvSpPr>
            <a:spLocks noGrp="1"/>
          </p:cNvSpPr>
          <p:nvPr>
            <p:ph type="ftr" sz="quarter" idx="11"/>
          </p:nvPr>
        </p:nvSpPr>
        <p:spPr/>
        <p:txBody>
          <a:bodyPr/>
          <a:lstStyle/>
          <a:p>
            <a:r>
              <a:rPr lang="de-DE" dirty="0"/>
              <a:t>EKHN</a:t>
            </a:r>
          </a:p>
        </p:txBody>
      </p:sp>
      <p:sp>
        <p:nvSpPr>
          <p:cNvPr id="2" name="Slide Number Placeholder 1">
            <a:extLst>
              <a:ext uri="{FF2B5EF4-FFF2-40B4-BE49-F238E27FC236}">
                <a16:creationId xmlns:a16="http://schemas.microsoft.com/office/drawing/2014/main" xmlns="" id="{7A8B9D26-090D-4D8E-807F-A5E281E517EA}"/>
              </a:ext>
            </a:extLst>
          </p:cNvPr>
          <p:cNvSpPr>
            <a:spLocks noGrp="1"/>
          </p:cNvSpPr>
          <p:nvPr>
            <p:ph type="sldNum" sz="quarter" idx="12"/>
          </p:nvPr>
        </p:nvSpPr>
        <p:spPr/>
        <p:txBody>
          <a:bodyPr/>
          <a:lstStyle/>
          <a:p>
            <a:fld id="{2B566E8B-C328-48DA-BCBD-74A040171C7B}" type="slidenum">
              <a:rPr lang="de-DE" smtClean="0"/>
              <a:pPr/>
              <a:t>3</a:t>
            </a:fld>
            <a:endParaRPr lang="de-DE" dirty="0"/>
          </a:p>
        </p:txBody>
      </p:sp>
      <p:sp>
        <p:nvSpPr>
          <p:cNvPr id="6" name="Titel 5"/>
          <p:cNvSpPr>
            <a:spLocks noGrp="1"/>
          </p:cNvSpPr>
          <p:nvPr>
            <p:ph type="title"/>
          </p:nvPr>
        </p:nvSpPr>
        <p:spPr>
          <a:xfrm>
            <a:off x="438352" y="640080"/>
            <a:ext cx="2146718" cy="379140"/>
          </a:xfrm>
        </p:spPr>
        <p:txBody>
          <a:bodyPr/>
          <a:lstStyle/>
          <a:p>
            <a:pPr algn="l"/>
            <a:r>
              <a:rPr lang="de-DE" dirty="0" smtClean="0">
                <a:latin typeface="Calibri" panose="020F0502020204030204" pitchFamily="34" charset="0"/>
                <a:cs typeface="Calibri" panose="020F0502020204030204" pitchFamily="34" charset="0"/>
              </a:rPr>
              <a:t>Agenda</a:t>
            </a:r>
            <a:endParaRPr lang="de-DE" dirty="0">
              <a:latin typeface="Calibri" panose="020F0502020204030204" pitchFamily="34" charset="0"/>
              <a:cs typeface="Calibri" panose="020F0502020204030204" pitchFamily="34" charset="0"/>
            </a:endParaRPr>
          </a:p>
        </p:txBody>
      </p:sp>
      <p:grpSp>
        <p:nvGrpSpPr>
          <p:cNvPr id="20" name="Group 53">
            <a:extLst>
              <a:ext uri="{FF2B5EF4-FFF2-40B4-BE49-F238E27FC236}">
                <a16:creationId xmlns:a16="http://schemas.microsoft.com/office/drawing/2014/main" xmlns="" id="{C6825B71-0D10-43D9-841D-C65CBADB8CC2}"/>
              </a:ext>
            </a:extLst>
          </p:cNvPr>
          <p:cNvGrpSpPr/>
          <p:nvPr/>
        </p:nvGrpSpPr>
        <p:grpSpPr>
          <a:xfrm>
            <a:off x="474631" y="3008011"/>
            <a:ext cx="11318391" cy="576000"/>
            <a:chOff x="442912" y="2846337"/>
            <a:chExt cx="11301593" cy="576000"/>
          </a:xfrm>
        </p:grpSpPr>
        <p:sp>
          <p:nvSpPr>
            <p:cNvPr id="21" name="Content Placeholder 8">
              <a:extLst>
                <a:ext uri="{FF2B5EF4-FFF2-40B4-BE49-F238E27FC236}">
                  <a16:creationId xmlns:a16="http://schemas.microsoft.com/office/drawing/2014/main" xmlns="" id="{82396497-9227-4DE7-A53F-3C32D8A39629}"/>
                </a:ext>
              </a:extLst>
            </p:cNvPr>
            <p:cNvSpPr txBox="1">
              <a:spLocks/>
            </p:cNvSpPr>
            <p:nvPr/>
          </p:nvSpPr>
          <p:spPr>
            <a:xfrm>
              <a:off x="1217527"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smtClean="0">
                  <a:solidFill>
                    <a:srgbClr val="572381"/>
                  </a:solidFill>
                  <a:latin typeface="Calibri" panose="020F0502020204030204" pitchFamily="34" charset="0"/>
                  <a:cs typeface="Calibri" panose="020F0502020204030204" pitchFamily="34" charset="0"/>
                </a:rPr>
                <a:t>Die Vorsteuer</a:t>
              </a:r>
              <a:endParaRPr lang="de-DE" sz="1800" dirty="0">
                <a:solidFill>
                  <a:srgbClr val="572381"/>
                </a:solidFill>
                <a:latin typeface="Calibri" panose="020F0502020204030204" pitchFamily="34" charset="0"/>
                <a:cs typeface="Calibri" panose="020F0502020204030204" pitchFamily="34" charset="0"/>
              </a:endParaRPr>
            </a:p>
          </p:txBody>
        </p:sp>
        <p:sp>
          <p:nvSpPr>
            <p:cNvPr id="26" name="TextBox 55">
              <a:extLst>
                <a:ext uri="{FF2B5EF4-FFF2-40B4-BE49-F238E27FC236}">
                  <a16:creationId xmlns:a16="http://schemas.microsoft.com/office/drawing/2014/main" xmlns="" id="{02A710AD-EC76-47E0-868B-C07ABA4A06D3}"/>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a:solidFill>
                    <a:schemeClr val="bg1"/>
                  </a:solidFill>
                </a:rPr>
                <a:t>7</a:t>
              </a:r>
            </a:p>
          </p:txBody>
        </p:sp>
        <p:sp>
          <p:nvSpPr>
            <p:cNvPr id="27" name="TextBox 56">
              <a:extLst>
                <a:ext uri="{FF2B5EF4-FFF2-40B4-BE49-F238E27FC236}">
                  <a16:creationId xmlns:a16="http://schemas.microsoft.com/office/drawing/2014/main" xmlns="" id="{074EEBBF-6475-4D28-BDC8-81175F92FDB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35</a:t>
              </a:r>
              <a:endParaRPr lang="de-DE" sz="2800" b="1" dirty="0">
                <a:solidFill>
                  <a:schemeClr val="bg1"/>
                </a:solidFill>
              </a:endParaRPr>
            </a:p>
          </p:txBody>
        </p:sp>
      </p:grpSp>
      <p:grpSp>
        <p:nvGrpSpPr>
          <p:cNvPr id="29" name="Group 53">
            <a:extLst>
              <a:ext uri="{FF2B5EF4-FFF2-40B4-BE49-F238E27FC236}">
                <a16:creationId xmlns:a16="http://schemas.microsoft.com/office/drawing/2014/main" xmlns="" id="{C6825B71-0D10-43D9-841D-C65CBADB8CC2}"/>
              </a:ext>
            </a:extLst>
          </p:cNvPr>
          <p:cNvGrpSpPr/>
          <p:nvPr/>
        </p:nvGrpSpPr>
        <p:grpSpPr>
          <a:xfrm>
            <a:off x="480544" y="2273156"/>
            <a:ext cx="11318391" cy="576000"/>
            <a:chOff x="442912" y="2846337"/>
            <a:chExt cx="11301593" cy="576000"/>
          </a:xfrm>
        </p:grpSpPr>
        <p:sp>
          <p:nvSpPr>
            <p:cNvPr id="30" name="Content Placeholder 8">
              <a:extLst>
                <a:ext uri="{FF2B5EF4-FFF2-40B4-BE49-F238E27FC236}">
                  <a16:creationId xmlns:a16="http://schemas.microsoft.com/office/drawing/2014/main" xmlns="" id="{82396497-9227-4DE7-A53F-3C32D8A39629}"/>
                </a:ext>
              </a:extLst>
            </p:cNvPr>
            <p:cNvSpPr txBox="1">
              <a:spLocks/>
            </p:cNvSpPr>
            <p:nvPr/>
          </p:nvSpPr>
          <p:spPr>
            <a:xfrm>
              <a:off x="1217527" y="2846337"/>
              <a:ext cx="10526978" cy="576000"/>
            </a:xfrm>
            <a:prstGeom prst="rect">
              <a:avLst/>
            </a:prstGeom>
            <a:solidFill>
              <a:schemeClr val="accent6">
                <a:lumMod val="20000"/>
                <a:lumOff val="80000"/>
              </a:schemeClr>
            </a:solidFill>
          </p:spPr>
          <p:txBody>
            <a:bodyPr vert="horz" lIns="0" tIns="0" rIns="0" bIns="0" rtlCol="0" anchor="ctr">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buClr>
                  <a:schemeClr val="accent3"/>
                </a:buClr>
                <a:buNone/>
              </a:pPr>
              <a:r>
                <a:rPr lang="de-DE" sz="1800" dirty="0">
                  <a:solidFill>
                    <a:srgbClr val="572381"/>
                  </a:solidFill>
                  <a:latin typeface="Calibri" panose="020F0502020204030204" pitchFamily="34" charset="0"/>
                  <a:cs typeface="Calibri" panose="020F0502020204030204" pitchFamily="34" charset="0"/>
                </a:rPr>
                <a:t>Verbuchung von Einnahmen</a:t>
              </a:r>
            </a:p>
          </p:txBody>
        </p:sp>
        <p:sp>
          <p:nvSpPr>
            <p:cNvPr id="32" name="TextBox 55">
              <a:extLst>
                <a:ext uri="{FF2B5EF4-FFF2-40B4-BE49-F238E27FC236}">
                  <a16:creationId xmlns:a16="http://schemas.microsoft.com/office/drawing/2014/main" xmlns="" id="{02A710AD-EC76-47E0-868B-C07ABA4A06D3}"/>
                </a:ext>
              </a:extLst>
            </p:cNvPr>
            <p:cNvSpPr txBox="1"/>
            <p:nvPr/>
          </p:nvSpPr>
          <p:spPr>
            <a:xfrm>
              <a:off x="442912" y="2846337"/>
              <a:ext cx="576000" cy="57600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6</a:t>
              </a:r>
              <a:endParaRPr lang="de-DE" sz="2800" b="1" dirty="0">
                <a:solidFill>
                  <a:schemeClr val="bg1"/>
                </a:solidFill>
              </a:endParaRPr>
            </a:p>
          </p:txBody>
        </p:sp>
        <p:sp>
          <p:nvSpPr>
            <p:cNvPr id="33" name="TextBox 56">
              <a:extLst>
                <a:ext uri="{FF2B5EF4-FFF2-40B4-BE49-F238E27FC236}">
                  <a16:creationId xmlns:a16="http://schemas.microsoft.com/office/drawing/2014/main" xmlns="" id="{074EEBBF-6475-4D28-BDC8-81175F92FDB0}"/>
                </a:ext>
              </a:extLst>
            </p:cNvPr>
            <p:cNvSpPr txBox="1"/>
            <p:nvPr/>
          </p:nvSpPr>
          <p:spPr>
            <a:xfrm>
              <a:off x="11312503" y="2846337"/>
              <a:ext cx="432000" cy="359380"/>
            </a:xfrm>
            <a:prstGeom prst="rect">
              <a:avLst/>
            </a:prstGeom>
            <a:solidFill>
              <a:srgbClr val="5D0B7A"/>
            </a:solidFill>
          </p:spPr>
          <p:txBody>
            <a:bodyPr wrap="square" lIns="0" tIns="0" rIns="0" bIns="0" rtlCol="0" anchor="ctr">
              <a:noAutofit/>
            </a:bodyPr>
            <a:lstStyle/>
            <a:p>
              <a:pPr algn="ctr">
                <a:lnSpc>
                  <a:spcPct val="100000"/>
                </a:lnSpc>
                <a:spcAft>
                  <a:spcPts val="600"/>
                </a:spcAft>
                <a:buSzPct val="100000"/>
              </a:pPr>
              <a:r>
                <a:rPr lang="de-DE" sz="2800" b="1" dirty="0" smtClean="0">
                  <a:solidFill>
                    <a:schemeClr val="bg1"/>
                  </a:solidFill>
                </a:rPr>
                <a:t>31</a:t>
              </a:r>
              <a:endParaRPr lang="de-DE" sz="2800" b="1" dirty="0">
                <a:solidFill>
                  <a:schemeClr val="bg1"/>
                </a:solidFill>
              </a:endParaRPr>
            </a:p>
          </p:txBody>
        </p:sp>
      </p:grpSp>
    </p:spTree>
    <p:extLst>
      <p:ext uri="{BB962C8B-B14F-4D97-AF65-F5344CB8AC3E}">
        <p14:creationId xmlns:p14="http://schemas.microsoft.com/office/powerpoint/2010/main" val="18406140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28738" y="2132856"/>
            <a:ext cx="11411797" cy="4104456"/>
          </a:xfrm>
        </p:spPr>
        <p:txBody>
          <a:bodyPr/>
          <a:lstStyle/>
          <a:p>
            <a:pPr>
              <a:lnSpc>
                <a:spcPct val="150000"/>
              </a:lnSpc>
              <a:spcAft>
                <a:spcPts val="600"/>
              </a:spcAft>
            </a:pPr>
            <a:r>
              <a:rPr lang="de-DE" sz="2000" dirty="0" smtClean="0">
                <a:solidFill>
                  <a:srgbClr val="572381"/>
                </a:solidFill>
                <a:latin typeface="Calibri" panose="020F0502020204030204" pitchFamily="34" charset="0"/>
                <a:cs typeface="Calibri" panose="020F0502020204030204" pitchFamily="34" charset="0"/>
              </a:rPr>
              <a:t>Rechnungen über steuerpflichtige Reiseleistungen </a:t>
            </a:r>
          </a:p>
          <a:p>
            <a:pPr lvl="1">
              <a:spcAft>
                <a:spcPts val="0"/>
              </a:spcAft>
            </a:pPr>
            <a:r>
              <a:rPr lang="de-DE" sz="1600" b="0" dirty="0" smtClean="0">
                <a:solidFill>
                  <a:srgbClr val="572381"/>
                </a:solidFill>
                <a:latin typeface="Calibri" panose="020F0502020204030204" pitchFamily="34" charset="0"/>
                <a:cs typeface="Calibri" panose="020F0502020204030204" pitchFamily="34" charset="0"/>
              </a:rPr>
              <a:t>Besondere Besteuerungsform der Margenbesteuerung kommt zur Anwendung </a:t>
            </a:r>
          </a:p>
          <a:p>
            <a:pPr lvl="1">
              <a:spcAft>
                <a:spcPts val="0"/>
              </a:spcAft>
            </a:pPr>
            <a:r>
              <a:rPr lang="de-DE" sz="1600" b="0" dirty="0" smtClean="0">
                <a:solidFill>
                  <a:srgbClr val="572381"/>
                </a:solidFill>
                <a:latin typeface="Calibri" panose="020F0502020204030204" pitchFamily="34" charset="0"/>
                <a:cs typeface="Calibri" panose="020F0502020204030204" pitchFamily="34" charset="0"/>
              </a:rPr>
              <a:t>Besteuerung des Gewinns, aber alle Erträge für Kleinunternehmergrenze zu beachten</a:t>
            </a:r>
          </a:p>
          <a:p>
            <a:pPr lvl="1">
              <a:spcAft>
                <a:spcPts val="0"/>
              </a:spcAft>
            </a:pPr>
            <a:r>
              <a:rPr lang="de-DE" sz="1600" b="0" dirty="0" smtClean="0">
                <a:solidFill>
                  <a:srgbClr val="572381"/>
                </a:solidFill>
                <a:latin typeface="Calibri" panose="020F0502020204030204" pitchFamily="34" charset="0"/>
                <a:cs typeface="Calibri" panose="020F0502020204030204" pitchFamily="34" charset="0"/>
              </a:rPr>
              <a:t>Kein Ausweis von Umsatzsteuer </a:t>
            </a:r>
          </a:p>
          <a:p>
            <a:pPr lvl="1">
              <a:spcAft>
                <a:spcPts val="0"/>
              </a:spcAft>
            </a:pPr>
            <a:r>
              <a:rPr lang="de-DE" sz="1600" b="0" dirty="0" smtClean="0">
                <a:solidFill>
                  <a:srgbClr val="572381"/>
                </a:solidFill>
                <a:latin typeface="Calibri" panose="020F0502020204030204" pitchFamily="34" charset="0"/>
                <a:cs typeface="Calibri" panose="020F0502020204030204" pitchFamily="34" charset="0"/>
              </a:rPr>
              <a:t>Hinweis auf die Sonderregelung auf der Rechnung</a:t>
            </a:r>
          </a:p>
          <a:p>
            <a:pPr lvl="1">
              <a:spcAft>
                <a:spcPts val="0"/>
              </a:spcAft>
            </a:pPr>
            <a:r>
              <a:rPr lang="de-DE" sz="1600" b="0" dirty="0" smtClean="0">
                <a:solidFill>
                  <a:srgbClr val="572381"/>
                </a:solidFill>
                <a:latin typeface="Calibri" panose="020F0502020204030204" pitchFamily="34" charset="0"/>
                <a:cs typeface="Calibri" panose="020F0502020204030204" pitchFamily="34" charset="0"/>
              </a:rPr>
              <a:t>Empfehlung: Auf externen Reiseveranstalter zurückgreifen</a:t>
            </a:r>
            <a:endParaRPr lang="de-DE" sz="1600" dirty="0" smtClean="0">
              <a:solidFill>
                <a:srgbClr val="572381"/>
              </a:solidFill>
              <a:latin typeface="Calibri" panose="020F0502020204030204" pitchFamily="34" charset="0"/>
              <a:cs typeface="Calibri" panose="020F0502020204030204" pitchFamily="34" charset="0"/>
            </a:endParaRPr>
          </a:p>
          <a:p>
            <a:pPr>
              <a:spcAft>
                <a:spcPts val="0"/>
              </a:spcAft>
            </a:pPr>
            <a:r>
              <a:rPr lang="de-DE" sz="2000" dirty="0" smtClean="0">
                <a:solidFill>
                  <a:srgbClr val="572381"/>
                </a:solidFill>
                <a:latin typeface="Calibri" panose="020F0502020204030204" pitchFamily="34" charset="0"/>
                <a:cs typeface="Calibri" panose="020F0502020204030204" pitchFamily="34" charset="0"/>
              </a:rPr>
              <a:t>Rechnungen über Dienstleistungen, bei denen der Leistungsempfänger die Umsatzsteuer schuldet</a:t>
            </a:r>
          </a:p>
          <a:p>
            <a:pPr lvl="1">
              <a:spcBef>
                <a:spcPts val="384"/>
              </a:spcBef>
              <a:spcAft>
                <a:spcPts val="0"/>
              </a:spcAft>
            </a:pPr>
            <a:r>
              <a:rPr lang="de-DE" sz="1600" b="0" dirty="0" smtClean="0">
                <a:solidFill>
                  <a:srgbClr val="572381"/>
                </a:solidFill>
                <a:latin typeface="Calibri" panose="020F0502020204030204" pitchFamily="34" charset="0"/>
                <a:cs typeface="Calibri" panose="020F0502020204030204" pitchFamily="34" charset="0"/>
              </a:rPr>
              <a:t>Kein Ausweis von Umsatzsteuer</a:t>
            </a:r>
          </a:p>
          <a:p>
            <a:pPr lvl="1">
              <a:spcBef>
                <a:spcPts val="384"/>
              </a:spcBef>
              <a:spcAft>
                <a:spcPts val="0"/>
              </a:spcAft>
            </a:pPr>
            <a:r>
              <a:rPr lang="de-DE" sz="1600" b="0" dirty="0" smtClean="0">
                <a:solidFill>
                  <a:srgbClr val="572381"/>
                </a:solidFill>
                <a:latin typeface="Calibri" panose="020F0502020204030204" pitchFamily="34" charset="0"/>
                <a:cs typeface="Calibri" panose="020F0502020204030204" pitchFamily="34" charset="0"/>
              </a:rPr>
              <a:t>Hinweis auf </a:t>
            </a:r>
            <a:r>
              <a:rPr lang="de-DE" sz="1600" b="0" dirty="0" err="1" smtClean="0">
                <a:solidFill>
                  <a:srgbClr val="572381"/>
                </a:solidFill>
                <a:latin typeface="Calibri" panose="020F0502020204030204" pitchFamily="34" charset="0"/>
                <a:cs typeface="Calibri" panose="020F0502020204030204" pitchFamily="34" charset="0"/>
              </a:rPr>
              <a:t>Steuerschuldnerschaft</a:t>
            </a:r>
            <a:r>
              <a:rPr lang="de-DE" sz="1600" b="0" dirty="0" smtClean="0">
                <a:solidFill>
                  <a:srgbClr val="572381"/>
                </a:solidFill>
                <a:latin typeface="Calibri" panose="020F0502020204030204" pitchFamily="34" charset="0"/>
                <a:cs typeface="Calibri" panose="020F0502020204030204" pitchFamily="34" charset="0"/>
              </a:rPr>
              <a:t> des Leistungsempfängers</a:t>
            </a:r>
          </a:p>
          <a:p>
            <a:pPr lvl="1">
              <a:spcBef>
                <a:spcPts val="384"/>
              </a:spcBef>
              <a:spcAft>
                <a:spcPts val="0"/>
              </a:spcAft>
            </a:pPr>
            <a:endParaRPr lang="de-DE" sz="1600" dirty="0">
              <a:solidFill>
                <a:srgbClr val="572381"/>
              </a:solidFill>
              <a:latin typeface="Calibri" panose="020F0502020204030204" pitchFamily="34" charset="0"/>
              <a:cs typeface="Calibri" panose="020F0502020204030204" pitchFamily="34" charset="0"/>
            </a:endParaRPr>
          </a:p>
          <a:p>
            <a:pPr>
              <a:spcBef>
                <a:spcPts val="384"/>
              </a:spcBef>
              <a:spcAft>
                <a:spcPts val="0"/>
              </a:spcAft>
              <a:buFont typeface="Arial" panose="020B0604020202020204" pitchFamily="34" charset="0"/>
              <a:buChar char="•"/>
            </a:pPr>
            <a:r>
              <a:rPr lang="de-DE" sz="1600" dirty="0" smtClean="0">
                <a:solidFill>
                  <a:srgbClr val="572381"/>
                </a:solidFill>
                <a:latin typeface="Calibri" panose="020F0502020204030204" pitchFamily="34" charset="0"/>
                <a:cs typeface="Calibri" panose="020F0502020204030204" pitchFamily="34" charset="0"/>
              </a:rPr>
              <a:t>Rechnungen über Lieferungen ins Ausland</a:t>
            </a:r>
          </a:p>
          <a:p>
            <a:pPr>
              <a:lnSpc>
                <a:spcPct val="150000"/>
              </a:lnSpc>
              <a:spcAft>
                <a:spcPts val="600"/>
              </a:spcAft>
            </a:pPr>
            <a:endParaRPr lang="de-DE" sz="1800" b="0" dirty="0"/>
          </a:p>
        </p:txBody>
      </p:sp>
      <p:sp>
        <p:nvSpPr>
          <p:cNvPr id="3" name="Titel 2"/>
          <p:cNvSpPr>
            <a:spLocks noGrp="1"/>
          </p:cNvSpPr>
          <p:nvPr>
            <p:ph type="title"/>
          </p:nvPr>
        </p:nvSpPr>
        <p:spPr>
          <a:xfrm>
            <a:off x="712863" y="470551"/>
            <a:ext cx="1512167" cy="504056"/>
          </a:xfrm>
        </p:spPr>
        <p:txBody>
          <a:bodyPr/>
          <a:lstStyle/>
          <a:p>
            <a:pPr algn="l"/>
            <a:r>
              <a:rPr lang="de-DE" sz="1800" dirty="0" smtClean="0">
                <a:latin typeface="Calibri" panose="020F0502020204030204" pitchFamily="34" charset="0"/>
                <a:cs typeface="Calibri" panose="020F0502020204030204" pitchFamily="34" charset="0"/>
              </a:rPr>
              <a:t>Sonderfälle </a:t>
            </a:r>
            <a:endParaRPr lang="de-D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5" name="Datumsplatzhalter 4"/>
          <p:cNvSpPr>
            <a:spLocks noGrp="1"/>
          </p:cNvSpPr>
          <p:nvPr>
            <p:ph type="dt" sz="half" idx="10"/>
          </p:nvPr>
        </p:nvSpPr>
        <p:spPr/>
        <p:txBody>
          <a:bodyPr/>
          <a:lstStyle/>
          <a:p>
            <a:pPr>
              <a:defRPr/>
            </a:pPr>
            <a:fld id="{32CF878D-E4FD-4A6F-B3D7-21D7438D2CAF}" type="datetime1">
              <a:rPr lang="de-DE" altLang="en-US" smtClean="0"/>
              <a:t>06.07.2021</a:t>
            </a:fld>
            <a:endParaRPr lang="de-DE" altLang="en-US"/>
          </a:p>
        </p:txBody>
      </p:sp>
      <p:sp>
        <p:nvSpPr>
          <p:cNvPr id="6" name="Fußzeilenplatzhalter 5"/>
          <p:cNvSpPr>
            <a:spLocks noGrp="1"/>
          </p:cNvSpPr>
          <p:nvPr>
            <p:ph type="ftr" sz="quarter" idx="11"/>
          </p:nvPr>
        </p:nvSpPr>
        <p:spPr/>
        <p:txBody>
          <a:bodyPr/>
          <a:lstStyle/>
          <a:p>
            <a:pPr>
              <a:defRPr/>
            </a:pPr>
            <a:r>
              <a:rPr lang="de-DE" altLang="en-US" smtClean="0"/>
              <a:t>EKHN</a:t>
            </a:r>
            <a:endParaRPr lang="de-DE" altLang="en-US"/>
          </a:p>
        </p:txBody>
      </p:sp>
      <p:sp>
        <p:nvSpPr>
          <p:cNvPr id="7" name="Foliennummernplatzhalter 6"/>
          <p:cNvSpPr>
            <a:spLocks noGrp="1"/>
          </p:cNvSpPr>
          <p:nvPr>
            <p:ph type="sldNum" sz="quarter" idx="12"/>
          </p:nvPr>
        </p:nvSpPr>
        <p:spPr/>
        <p:txBody>
          <a:bodyPr/>
          <a:lstStyle/>
          <a:p>
            <a:pPr>
              <a:defRPr/>
            </a:pPr>
            <a:fld id="{BEA88772-2E14-493F-A726-E8A7A8CFB7CD}" type="slidenum">
              <a:rPr lang="de-DE" altLang="en-US" smtClean="0"/>
              <a:pPr>
                <a:defRPr/>
              </a:pPr>
              <a:t>30</a:t>
            </a:fld>
            <a:endParaRPr lang="de-DE" altLang="en-US"/>
          </a:p>
        </p:txBody>
      </p:sp>
    </p:spTree>
    <p:extLst>
      <p:ext uri="{BB962C8B-B14F-4D97-AF65-F5344CB8AC3E}">
        <p14:creationId xmlns:p14="http://schemas.microsoft.com/office/powerpoint/2010/main" val="4426447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96838" y="1628800"/>
            <a:ext cx="5273850" cy="4318992"/>
          </a:xfrm>
        </p:spPr>
        <p:txBody>
          <a:bodyPr/>
          <a:lstStyle/>
          <a:p>
            <a:endParaRPr lang="de-DE" dirty="0" smtClean="0">
              <a:solidFill>
                <a:srgbClr val="572381"/>
              </a:solidFill>
              <a:latin typeface="Calibri" panose="020F0502020204030204" pitchFamily="34" charset="0"/>
              <a:cs typeface="Calibri" panose="020F0502020204030204" pitchFamily="34" charset="0"/>
            </a:endParaRPr>
          </a:p>
          <a:p>
            <a:r>
              <a:rPr lang="de-DE" dirty="0" smtClean="0">
                <a:solidFill>
                  <a:srgbClr val="572381"/>
                </a:solidFill>
                <a:latin typeface="Calibri" panose="020F0502020204030204" pitchFamily="34" charset="0"/>
                <a:cs typeface="Calibri" panose="020F0502020204030204" pitchFamily="34" charset="0"/>
              </a:rPr>
              <a:t>Musterrechnung für Kleinunternehmer</a:t>
            </a:r>
            <a:endParaRPr lang="de-DE" dirty="0">
              <a:solidFill>
                <a:srgbClr val="572381"/>
              </a:solidFill>
              <a:latin typeface="Calibri" panose="020F0502020204030204" pitchFamily="34" charset="0"/>
              <a:cs typeface="Calibri" panose="020F0502020204030204" pitchFamily="34" charset="0"/>
            </a:endParaRPr>
          </a:p>
          <a:p>
            <a:endParaRPr lang="de-DE" dirty="0"/>
          </a:p>
        </p:txBody>
      </p:sp>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31</a:t>
            </a:fld>
            <a:endParaRPr lang="de-DE" altLang="en-US"/>
          </a:p>
        </p:txBody>
      </p:sp>
      <p:sp>
        <p:nvSpPr>
          <p:cNvPr id="6" name="Titel 5"/>
          <p:cNvSpPr>
            <a:spLocks noGrp="1"/>
          </p:cNvSpPr>
          <p:nvPr>
            <p:ph type="title"/>
          </p:nvPr>
        </p:nvSpPr>
        <p:spPr>
          <a:xfrm>
            <a:off x="1010420" y="476672"/>
            <a:ext cx="3518866" cy="379140"/>
          </a:xfrm>
        </p:spPr>
        <p:txBody>
          <a:bodyPr/>
          <a:lstStyle/>
          <a:p>
            <a:r>
              <a:rPr lang="de-DE" dirty="0" smtClean="0"/>
              <a:t>Musterrechnungen</a:t>
            </a:r>
            <a:endParaRPr lang="de-DE" dirty="0"/>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liche Rechn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8" name="Objekt 7"/>
          <p:cNvGraphicFramePr>
            <a:graphicFrameLocks noChangeAspect="1"/>
          </p:cNvGraphicFramePr>
          <p:nvPr>
            <p:extLst>
              <p:ext uri="{D42A27DB-BD31-4B8C-83A1-F6EECF244321}">
                <p14:modId xmlns:p14="http://schemas.microsoft.com/office/powerpoint/2010/main" val="5551936"/>
              </p:ext>
            </p:extLst>
          </p:nvPr>
        </p:nvGraphicFramePr>
        <p:xfrm>
          <a:off x="1576958" y="3501008"/>
          <a:ext cx="914400" cy="792163"/>
        </p:xfrm>
        <a:graphic>
          <a:graphicData uri="http://schemas.openxmlformats.org/presentationml/2006/ole">
            <mc:AlternateContent xmlns:mc="http://schemas.openxmlformats.org/markup-compatibility/2006">
              <mc:Choice xmlns:v="urn:schemas-microsoft-com:vml" Requires="v">
                <p:oleObj spid="_x0000_s50218" name="Dokument" showAsIcon="1" r:id="rId3" imgW="914400" imgH="792360" progId="Word.Document.12">
                  <p:embed/>
                </p:oleObj>
              </mc:Choice>
              <mc:Fallback>
                <p:oleObj name="Dokument" showAsIcon="1" r:id="rId3" imgW="914400" imgH="792360" progId="Word.Document.12">
                  <p:embed/>
                  <p:pic>
                    <p:nvPicPr>
                      <p:cNvPr id="0" name=""/>
                      <p:cNvPicPr/>
                      <p:nvPr/>
                    </p:nvPicPr>
                    <p:blipFill>
                      <a:blip r:embed="rId4"/>
                      <a:stretch>
                        <a:fillRect/>
                      </a:stretch>
                    </p:blipFill>
                    <p:spPr>
                      <a:xfrm>
                        <a:off x="1576958" y="3501008"/>
                        <a:ext cx="914400" cy="792163"/>
                      </a:xfrm>
                      <a:prstGeom prst="rect">
                        <a:avLst/>
                      </a:prstGeom>
                    </p:spPr>
                  </p:pic>
                </p:oleObj>
              </mc:Fallback>
            </mc:AlternateContent>
          </a:graphicData>
        </a:graphic>
      </p:graphicFrame>
      <p:sp>
        <p:nvSpPr>
          <p:cNvPr id="9" name="Inhaltsplatzhalter 1"/>
          <p:cNvSpPr txBox="1">
            <a:spLocks/>
          </p:cNvSpPr>
          <p:nvPr/>
        </p:nvSpPr>
        <p:spPr bwMode="auto">
          <a:xfrm>
            <a:off x="6093508" y="1762861"/>
            <a:ext cx="5273850" cy="431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endParaRPr lang="de-DE" kern="0" dirty="0" smtClean="0">
              <a:solidFill>
                <a:srgbClr val="572381"/>
              </a:solidFill>
              <a:latin typeface="Calibri" panose="020F0502020204030204" pitchFamily="34" charset="0"/>
              <a:cs typeface="Calibri" panose="020F0502020204030204" pitchFamily="34" charset="0"/>
            </a:endParaRPr>
          </a:p>
          <a:p>
            <a:r>
              <a:rPr lang="de-DE" kern="0" dirty="0" smtClean="0">
                <a:solidFill>
                  <a:srgbClr val="572381"/>
                </a:solidFill>
                <a:latin typeface="Calibri" panose="020F0502020204030204" pitchFamily="34" charset="0"/>
                <a:cs typeface="Calibri" panose="020F0502020204030204" pitchFamily="34" charset="0"/>
              </a:rPr>
              <a:t>Musterrechnung für </a:t>
            </a:r>
            <a:r>
              <a:rPr lang="de-DE" kern="0" dirty="0" err="1" smtClean="0">
                <a:solidFill>
                  <a:srgbClr val="572381"/>
                </a:solidFill>
                <a:latin typeface="Calibri" panose="020F0502020204030204" pitchFamily="34" charset="0"/>
                <a:cs typeface="Calibri" panose="020F0502020204030204" pitchFamily="34" charset="0"/>
              </a:rPr>
              <a:t>Regelbesteuerer</a:t>
            </a:r>
            <a:endParaRPr lang="de-DE" kern="0" dirty="0" smtClean="0">
              <a:solidFill>
                <a:srgbClr val="572381"/>
              </a:solidFill>
              <a:latin typeface="Calibri" panose="020F0502020204030204" pitchFamily="34" charset="0"/>
              <a:cs typeface="Calibri" panose="020F0502020204030204" pitchFamily="34" charset="0"/>
            </a:endParaRPr>
          </a:p>
          <a:p>
            <a:endParaRPr lang="de-DE" kern="0" dirty="0"/>
          </a:p>
        </p:txBody>
      </p:sp>
      <p:graphicFrame>
        <p:nvGraphicFramePr>
          <p:cNvPr id="10" name="Objekt 9"/>
          <p:cNvGraphicFramePr>
            <a:graphicFrameLocks noChangeAspect="1"/>
          </p:cNvGraphicFramePr>
          <p:nvPr>
            <p:extLst>
              <p:ext uri="{D42A27DB-BD31-4B8C-83A1-F6EECF244321}">
                <p14:modId xmlns:p14="http://schemas.microsoft.com/office/powerpoint/2010/main" val="3631990429"/>
              </p:ext>
            </p:extLst>
          </p:nvPr>
        </p:nvGraphicFramePr>
        <p:xfrm>
          <a:off x="8201694" y="3356992"/>
          <a:ext cx="914400" cy="792163"/>
        </p:xfrm>
        <a:graphic>
          <a:graphicData uri="http://schemas.openxmlformats.org/presentationml/2006/ole">
            <mc:AlternateContent xmlns:mc="http://schemas.openxmlformats.org/markup-compatibility/2006">
              <mc:Choice xmlns:v="urn:schemas-microsoft-com:vml" Requires="v">
                <p:oleObj spid="_x0000_s50219" name="Dokument" showAsIcon="1" r:id="rId5" imgW="914400" imgH="792360" progId="Word.Document.12">
                  <p:embed/>
                </p:oleObj>
              </mc:Choice>
              <mc:Fallback>
                <p:oleObj name="Dokument" showAsIcon="1" r:id="rId5" imgW="914400" imgH="792360" progId="Word.Document.12">
                  <p:embed/>
                  <p:pic>
                    <p:nvPicPr>
                      <p:cNvPr id="0" name=""/>
                      <p:cNvPicPr/>
                      <p:nvPr/>
                    </p:nvPicPr>
                    <p:blipFill>
                      <a:blip r:embed="rId6"/>
                      <a:stretch>
                        <a:fillRect/>
                      </a:stretch>
                    </p:blipFill>
                    <p:spPr>
                      <a:xfrm>
                        <a:off x="8201694" y="335699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595455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25679"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Verbuchung von Einnahmen</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a:solidFill>
                    <a:schemeClr val="bg1"/>
                  </a:solidFill>
                  <a:latin typeface="Calibri" panose="020F0502020204030204" pitchFamily="34" charset="0"/>
                  <a:cs typeface="Calibri" panose="020F0502020204030204" pitchFamily="34" charset="0"/>
                </a:rPr>
                <a:t>6</a:t>
              </a: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32</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29151482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33</a:t>
            </a:fld>
            <a:endParaRPr lang="de-DE" altLang="en-US"/>
          </a:p>
        </p:txBody>
      </p:sp>
      <p:sp>
        <p:nvSpPr>
          <p:cNvPr id="6" name="Titel 5"/>
          <p:cNvSpPr>
            <a:spLocks noGrp="1"/>
          </p:cNvSpPr>
          <p:nvPr>
            <p:ph type="title"/>
          </p:nvPr>
        </p:nvSpPr>
        <p:spPr>
          <a:xfrm>
            <a:off x="1010420" y="476672"/>
            <a:ext cx="2438746" cy="379140"/>
          </a:xfrm>
        </p:spPr>
        <p:txBody>
          <a:bodyPr/>
          <a:lstStyle/>
          <a:p>
            <a:r>
              <a:rPr lang="de-DE" dirty="0" smtClean="0"/>
              <a:t>Kassenbuch</a:t>
            </a:r>
            <a:endParaRPr lang="de-DE" dirty="0"/>
          </a:p>
        </p:txBody>
      </p:sp>
      <p:pic>
        <p:nvPicPr>
          <p:cNvPr id="53250" name="Picture 2" descr="C:\Users\croth\Desktop\Schulung\Handkass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3022" y="1052736"/>
            <a:ext cx="8424936" cy="5597104"/>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Verbuchung von Einnahm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9" name="Ovale Legende 8"/>
          <p:cNvSpPr/>
          <p:nvPr/>
        </p:nvSpPr>
        <p:spPr bwMode="auto">
          <a:xfrm>
            <a:off x="9281814" y="1045010"/>
            <a:ext cx="2880320" cy="2160240"/>
          </a:xfrm>
          <a:prstGeom prst="wedgeEllipseCallout">
            <a:avLst>
              <a:gd name="adj1" fmla="val -99819"/>
              <a:gd name="adj2" fmla="val -4888"/>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2: </a:t>
            </a:r>
          </a:p>
          <a:p>
            <a:pPr marL="0" marR="0" indent="0" algn="l" defTabSz="914400" rtl="0" eaLnBrk="0" fontAlgn="base" latinLnBrk="0" hangingPunct="0">
              <a:lnSpc>
                <a:spcPct val="100000"/>
              </a:lnSpc>
              <a:spcBef>
                <a:spcPct val="0"/>
              </a:spcBef>
              <a:spcAft>
                <a:spcPct val="0"/>
              </a:spcAft>
              <a:buClrTx/>
              <a:buSzTx/>
              <a:buFontTx/>
              <a:buNone/>
              <a:tabLst/>
            </a:pPr>
            <a:r>
              <a:rPr lang="de-DE" sz="1400" dirty="0" smtClean="0">
                <a:solidFill>
                  <a:srgbClr val="572381"/>
                </a:solidFill>
                <a:latin typeface="Calibri" panose="020F0502020204030204" pitchFamily="34" charset="0"/>
                <a:cs typeface="Calibri" panose="020F0502020204030204" pitchFamily="34" charset="0"/>
              </a:rPr>
              <a:t>Hellgrau hinterlegte Felder ausfüllen</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Abrechnungsdatum</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smtClean="0">
                <a:solidFill>
                  <a:srgbClr val="572381"/>
                </a:solidFill>
                <a:latin typeface="Calibri" panose="020F0502020204030204" pitchFamily="34" charset="0"/>
                <a:cs typeface="Calibri" panose="020F0502020204030204" pitchFamily="34" charset="0"/>
              </a:rPr>
              <a:t>Name der Kassenführung</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Bankbestand</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a:solidFill>
                  <a:srgbClr val="572381"/>
                </a:solidFill>
                <a:latin typeface="Calibri" panose="020F0502020204030204" pitchFamily="34" charset="0"/>
                <a:cs typeface="Calibri" panose="020F0502020204030204" pitchFamily="34" charset="0"/>
              </a:rPr>
              <a:t>u</a:t>
            </a:r>
            <a:r>
              <a:rPr lang="de-DE" sz="1400" dirty="0" smtClean="0">
                <a:solidFill>
                  <a:srgbClr val="572381"/>
                </a:solidFill>
                <a:latin typeface="Calibri" panose="020F0502020204030204" pitchFamily="34" charset="0"/>
                <a:cs typeface="Calibri" panose="020F0502020204030204" pitchFamily="34" charset="0"/>
              </a:rPr>
              <a:t>sw.</a:t>
            </a:r>
            <a:endPar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endParaRPr>
          </a:p>
        </p:txBody>
      </p:sp>
      <p:sp>
        <p:nvSpPr>
          <p:cNvPr id="11" name="Ovale Legende 10"/>
          <p:cNvSpPr/>
          <p:nvPr/>
        </p:nvSpPr>
        <p:spPr bwMode="auto">
          <a:xfrm>
            <a:off x="3089126" y="4489600"/>
            <a:ext cx="4361196" cy="2160240"/>
          </a:xfrm>
          <a:prstGeom prst="wedgeEllipseCallout">
            <a:avLst>
              <a:gd name="adj1" fmla="val -1162"/>
              <a:gd name="adj2" fmla="val -76338"/>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2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3: </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kumimoji="0" lang="de-DE" sz="12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Auswahl Kategorie Ertrag/Aufwand</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kumimoji="0" lang="de-DE" sz="12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Datum eintragen</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200" dirty="0" smtClean="0">
                <a:solidFill>
                  <a:srgbClr val="572381"/>
                </a:solidFill>
                <a:latin typeface="Calibri" panose="020F0502020204030204" pitchFamily="34" charset="0"/>
                <a:cs typeface="Calibri" panose="020F0502020204030204" pitchFamily="34" charset="0"/>
              </a:rPr>
              <a:t>Belegtext eingeben</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kumimoji="0" lang="de-DE" sz="12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Abrechnungsobjekt</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200" dirty="0" err="1" smtClean="0">
                <a:solidFill>
                  <a:srgbClr val="572381"/>
                </a:solidFill>
                <a:latin typeface="Calibri" panose="020F0502020204030204" pitchFamily="34" charset="0"/>
                <a:cs typeface="Calibri" panose="020F0502020204030204" pitchFamily="34" charset="0"/>
              </a:rPr>
              <a:t>SaKo</a:t>
            </a:r>
            <a:r>
              <a:rPr lang="de-DE" sz="1200" dirty="0" smtClean="0">
                <a:solidFill>
                  <a:srgbClr val="572381"/>
                </a:solidFill>
                <a:latin typeface="Calibri" panose="020F0502020204030204" pitchFamily="34" charset="0"/>
                <a:cs typeface="Calibri" panose="020F0502020204030204" pitchFamily="34" charset="0"/>
              </a:rPr>
              <a:t> über Drop-Down-Feld auswählen</a:t>
            </a: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200" dirty="0" smtClean="0">
                <a:solidFill>
                  <a:srgbClr val="572381"/>
                </a:solidFill>
                <a:latin typeface="Calibri" panose="020F0502020204030204" pitchFamily="34" charset="0"/>
                <a:cs typeface="Calibri" panose="020F0502020204030204" pitchFamily="34" charset="0"/>
              </a:rPr>
              <a:t>Bruttobetrag eingeben (mit </a:t>
            </a:r>
            <a:r>
              <a:rPr lang="de-DE" sz="1200" dirty="0" err="1" smtClean="0">
                <a:solidFill>
                  <a:srgbClr val="572381"/>
                </a:solidFill>
                <a:latin typeface="Calibri" panose="020F0502020204030204" pitchFamily="34" charset="0"/>
                <a:cs typeface="Calibri" panose="020F0502020204030204" pitchFamily="34" charset="0"/>
              </a:rPr>
              <a:t>USt</a:t>
            </a:r>
            <a:r>
              <a:rPr lang="de-DE" sz="1200" dirty="0" smtClean="0">
                <a:solidFill>
                  <a:srgbClr val="572381"/>
                </a:solidFill>
                <a:latin typeface="Calibri" panose="020F0502020204030204" pitchFamily="34" charset="0"/>
                <a:cs typeface="Calibri" panose="020F0502020204030204" pitchFamily="34" charset="0"/>
              </a:rPr>
              <a:t>)</a:t>
            </a:r>
          </a:p>
          <a:p>
            <a:pPr marR="0" algn="l" defTabSz="914400" rtl="0" eaLnBrk="0" fontAlgn="base" latinLnBrk="0" hangingPunct="0">
              <a:lnSpc>
                <a:spcPct val="100000"/>
              </a:lnSpc>
              <a:spcBef>
                <a:spcPct val="0"/>
              </a:spcBef>
              <a:spcAft>
                <a:spcPct val="0"/>
              </a:spcAft>
              <a:buClrTx/>
              <a:buSzTx/>
              <a:tabLst/>
            </a:pPr>
            <a:endParaRPr lang="de-DE" sz="1200" dirty="0" smtClean="0">
              <a:solidFill>
                <a:srgbClr val="572381"/>
              </a:solidFill>
              <a:latin typeface="Calibri" panose="020F0502020204030204" pitchFamily="34" charset="0"/>
              <a:cs typeface="Calibri" panose="020F0502020204030204" pitchFamily="34" charset="0"/>
            </a:endParaRPr>
          </a:p>
          <a:p>
            <a:pPr marL="342900" marR="0" indent="-34290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endPar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endParaRPr>
          </a:p>
        </p:txBody>
      </p:sp>
      <p:sp>
        <p:nvSpPr>
          <p:cNvPr id="14" name="Ovale Legende 13"/>
          <p:cNvSpPr/>
          <p:nvPr/>
        </p:nvSpPr>
        <p:spPr bwMode="auto">
          <a:xfrm>
            <a:off x="64790" y="1451043"/>
            <a:ext cx="2376264" cy="1152128"/>
          </a:xfrm>
          <a:prstGeom prst="wedgeEllipseCallout">
            <a:avLst>
              <a:gd name="adj1" fmla="val 81296"/>
              <a:gd name="adj2" fmla="val 51810"/>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4: </a:t>
            </a:r>
          </a:p>
          <a:p>
            <a:pPr marL="285750" marR="0" indent="-28575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smtClean="0">
                <a:solidFill>
                  <a:srgbClr val="572381"/>
                </a:solidFill>
                <a:latin typeface="Calibri" panose="020F0502020204030204" pitchFamily="34" charset="0"/>
                <a:cs typeface="Calibri" panose="020F0502020204030204" pitchFamily="34" charset="0"/>
              </a:rPr>
              <a:t>Unterschrift nicht vergessen</a:t>
            </a:r>
            <a:endPar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endParaRPr>
          </a:p>
        </p:txBody>
      </p:sp>
      <p:sp>
        <p:nvSpPr>
          <p:cNvPr id="15" name="Ovale Legende 14"/>
          <p:cNvSpPr/>
          <p:nvPr/>
        </p:nvSpPr>
        <p:spPr bwMode="auto">
          <a:xfrm>
            <a:off x="5134295" y="298915"/>
            <a:ext cx="2232248" cy="1152128"/>
          </a:xfrm>
          <a:prstGeom prst="wedgeEllipseCallout">
            <a:avLst>
              <a:gd name="adj1" fmla="val 84794"/>
              <a:gd name="adj2" fmla="val 43283"/>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1: </a:t>
            </a:r>
          </a:p>
          <a:p>
            <a:pPr marL="285750" marR="0" indent="-28575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smtClean="0">
                <a:solidFill>
                  <a:srgbClr val="572381"/>
                </a:solidFill>
                <a:latin typeface="Calibri" panose="020F0502020204030204" pitchFamily="34" charset="0"/>
                <a:cs typeface="Calibri" panose="020F0502020204030204" pitchFamily="34" charset="0"/>
              </a:rPr>
              <a:t>Eingabe Rechtsträger </a:t>
            </a:r>
            <a:endPar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0078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4" grpId="0" animBg="1"/>
      <p:bldP spid="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34</a:t>
            </a:fld>
            <a:endParaRPr lang="de-DE" altLang="en-US"/>
          </a:p>
        </p:txBody>
      </p:sp>
      <p:sp>
        <p:nvSpPr>
          <p:cNvPr id="6" name="Titel 5"/>
          <p:cNvSpPr>
            <a:spLocks noGrp="1"/>
          </p:cNvSpPr>
          <p:nvPr>
            <p:ph type="title"/>
          </p:nvPr>
        </p:nvSpPr>
        <p:spPr>
          <a:xfrm>
            <a:off x="1010420" y="476672"/>
            <a:ext cx="3662882" cy="379140"/>
          </a:xfrm>
        </p:spPr>
        <p:txBody>
          <a:bodyPr/>
          <a:lstStyle/>
          <a:p>
            <a:r>
              <a:rPr lang="de-DE" dirty="0" smtClean="0"/>
              <a:t>Buchungsblatt Handkasse</a:t>
            </a:r>
            <a:endParaRPr lang="de-DE" dirty="0"/>
          </a:p>
        </p:txBody>
      </p:sp>
      <p:sp>
        <p:nvSpPr>
          <p:cNvPr id="8"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Verbuchung von Einnahm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pic>
        <p:nvPicPr>
          <p:cNvPr id="54274" name="Picture 2" descr="C:\Users\croth\Desktop\Schulung\Handkasse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3142" y="908720"/>
            <a:ext cx="6480720" cy="5835104"/>
          </a:xfrm>
          <a:prstGeom prst="rect">
            <a:avLst/>
          </a:prstGeom>
          <a:noFill/>
          <a:extLst>
            <a:ext uri="{909E8E84-426E-40DD-AFC4-6F175D3DCCD1}">
              <a14:hiddenFill xmlns:a14="http://schemas.microsoft.com/office/drawing/2010/main">
                <a:solidFill>
                  <a:srgbClr val="FFFFFF"/>
                </a:solidFill>
              </a14:hiddenFill>
            </a:ext>
          </a:extLst>
        </p:spPr>
      </p:pic>
      <p:sp>
        <p:nvSpPr>
          <p:cNvPr id="13" name="Ovale Legende 12"/>
          <p:cNvSpPr/>
          <p:nvPr/>
        </p:nvSpPr>
        <p:spPr bwMode="auto">
          <a:xfrm>
            <a:off x="7121574" y="476672"/>
            <a:ext cx="2232248" cy="1152128"/>
          </a:xfrm>
          <a:prstGeom prst="wedgeEllipseCallout">
            <a:avLst>
              <a:gd name="adj1" fmla="val -40717"/>
              <a:gd name="adj2" fmla="val 107411"/>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5: </a:t>
            </a:r>
          </a:p>
          <a:p>
            <a:pPr marL="285750" marR="0" indent="-28575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smtClean="0">
                <a:solidFill>
                  <a:srgbClr val="572381"/>
                </a:solidFill>
                <a:latin typeface="Calibri" panose="020F0502020204030204" pitchFamily="34" charset="0"/>
                <a:cs typeface="Calibri" panose="020F0502020204030204" pitchFamily="34" charset="0"/>
              </a:rPr>
              <a:t>Eingabe Stammdaten</a:t>
            </a:r>
            <a:endPar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endParaRPr>
          </a:p>
        </p:txBody>
      </p:sp>
      <p:sp>
        <p:nvSpPr>
          <p:cNvPr id="16" name="Ovale Legende 15"/>
          <p:cNvSpPr/>
          <p:nvPr/>
        </p:nvSpPr>
        <p:spPr bwMode="auto">
          <a:xfrm>
            <a:off x="4097238" y="5085184"/>
            <a:ext cx="3240360" cy="1152128"/>
          </a:xfrm>
          <a:prstGeom prst="wedgeEllipseCallout">
            <a:avLst>
              <a:gd name="adj1" fmla="val -409"/>
              <a:gd name="adj2" fmla="val -126878"/>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rPr>
              <a:t>Schritt</a:t>
            </a:r>
            <a:r>
              <a:rPr kumimoji="0" lang="de-DE" sz="1400" b="0" i="0" u="none" strike="noStrike" cap="none" normalizeH="0" dirty="0" smtClean="0">
                <a:ln>
                  <a:noFill/>
                </a:ln>
                <a:solidFill>
                  <a:srgbClr val="572381"/>
                </a:solidFill>
                <a:effectLst/>
                <a:latin typeface="Calibri" panose="020F0502020204030204" pitchFamily="34" charset="0"/>
                <a:cs typeface="Calibri" panose="020F0502020204030204" pitchFamily="34" charset="0"/>
              </a:rPr>
              <a:t> 6: </a:t>
            </a:r>
          </a:p>
          <a:p>
            <a:pPr marL="285750" marR="0" indent="-285750" algn="l" defTabSz="914400" rtl="0" eaLnBrk="0" fontAlgn="base" latinLnBrk="0" hangingPunct="0">
              <a:lnSpc>
                <a:spcPct val="100000"/>
              </a:lnSpc>
              <a:spcBef>
                <a:spcPct val="0"/>
              </a:spcBef>
              <a:spcAft>
                <a:spcPct val="0"/>
              </a:spcAft>
              <a:buClrTx/>
              <a:buSzTx/>
              <a:buFont typeface="Symbol" panose="05050102010706020507" pitchFamily="18" charset="2"/>
              <a:buChar char="-"/>
              <a:tabLst/>
            </a:pPr>
            <a:r>
              <a:rPr lang="de-DE" sz="1400" dirty="0" smtClean="0">
                <a:solidFill>
                  <a:srgbClr val="572381"/>
                </a:solidFill>
                <a:latin typeface="Calibri" panose="020F0502020204030204" pitchFamily="34" charset="0"/>
                <a:cs typeface="Calibri" panose="020F0502020204030204" pitchFamily="34" charset="0"/>
              </a:rPr>
              <a:t>Daten werden aus dem Kassenbuch übertragen</a:t>
            </a:r>
            <a:endParaRPr kumimoji="0" lang="de-DE" sz="1400" b="0" i="0" u="none" strike="noStrike" cap="none" normalizeH="0" baseline="0" dirty="0" smtClean="0">
              <a:ln>
                <a:noFill/>
              </a:ln>
              <a:solidFill>
                <a:srgbClr val="57238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1215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12862" y="476672"/>
            <a:ext cx="1872208" cy="379140"/>
          </a:xfrm>
        </p:spPr>
        <p:txBody>
          <a:bodyPr/>
          <a:lstStyle/>
          <a:p>
            <a:r>
              <a:rPr lang="de-DE" dirty="0" smtClean="0">
                <a:latin typeface="Calibri" panose="020F0502020204030204" pitchFamily="34" charset="0"/>
                <a:cs typeface="Calibri" panose="020F0502020204030204" pitchFamily="34" charset="0"/>
              </a:rPr>
              <a:t>Handkasse</a:t>
            </a:r>
            <a:endParaRPr lang="de-D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Verbuchung von Einnahm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5" name="Datumsplatzhalter 4"/>
          <p:cNvSpPr>
            <a:spLocks noGrp="1"/>
          </p:cNvSpPr>
          <p:nvPr>
            <p:ph type="dt" sz="half" idx="10"/>
          </p:nvPr>
        </p:nvSpPr>
        <p:spPr/>
        <p:txBody>
          <a:bodyPr/>
          <a:lstStyle/>
          <a:p>
            <a:pPr>
              <a:defRPr/>
            </a:pPr>
            <a:fld id="{AEBD5406-12B9-4082-AA0B-169233924583}" type="datetime1">
              <a:rPr lang="de-DE" altLang="en-US" smtClean="0"/>
              <a:t>06.07.2021</a:t>
            </a:fld>
            <a:endParaRPr lang="de-DE" altLang="en-US"/>
          </a:p>
        </p:txBody>
      </p:sp>
      <p:sp>
        <p:nvSpPr>
          <p:cNvPr id="6" name="Fußzeilenplatzhalter 5"/>
          <p:cNvSpPr>
            <a:spLocks noGrp="1"/>
          </p:cNvSpPr>
          <p:nvPr>
            <p:ph type="ftr" sz="quarter" idx="11"/>
          </p:nvPr>
        </p:nvSpPr>
        <p:spPr/>
        <p:txBody>
          <a:bodyPr/>
          <a:lstStyle/>
          <a:p>
            <a:pPr>
              <a:defRPr/>
            </a:pPr>
            <a:r>
              <a:rPr lang="de-DE" altLang="en-US" smtClean="0"/>
              <a:t>EKHN</a:t>
            </a:r>
            <a:endParaRPr lang="de-DE" altLang="en-US"/>
          </a:p>
        </p:txBody>
      </p:sp>
      <p:sp>
        <p:nvSpPr>
          <p:cNvPr id="7" name="Foliennummernplatzhalter 6"/>
          <p:cNvSpPr>
            <a:spLocks noGrp="1"/>
          </p:cNvSpPr>
          <p:nvPr>
            <p:ph type="sldNum" sz="quarter" idx="12"/>
          </p:nvPr>
        </p:nvSpPr>
        <p:spPr/>
        <p:txBody>
          <a:bodyPr/>
          <a:lstStyle/>
          <a:p>
            <a:pPr>
              <a:defRPr/>
            </a:pPr>
            <a:fld id="{BEA88772-2E14-493F-A726-E8A7A8CFB7CD}" type="slidenum">
              <a:rPr lang="de-DE" altLang="en-US" smtClean="0"/>
              <a:pPr>
                <a:defRPr/>
              </a:pPr>
              <a:t>35</a:t>
            </a:fld>
            <a:endParaRPr lang="de-DE" altLang="en-US"/>
          </a:p>
        </p:txBody>
      </p:sp>
      <p:graphicFrame>
        <p:nvGraphicFramePr>
          <p:cNvPr id="13" name="Objekt 12"/>
          <p:cNvGraphicFramePr>
            <a:graphicFrameLocks noChangeAspect="1"/>
          </p:cNvGraphicFramePr>
          <p:nvPr>
            <p:extLst>
              <p:ext uri="{D42A27DB-BD31-4B8C-83A1-F6EECF244321}">
                <p14:modId xmlns:p14="http://schemas.microsoft.com/office/powerpoint/2010/main" val="4079927513"/>
              </p:ext>
            </p:extLst>
          </p:nvPr>
        </p:nvGraphicFramePr>
        <p:xfrm>
          <a:off x="5105350" y="2420888"/>
          <a:ext cx="1681337" cy="1456576"/>
        </p:xfrm>
        <a:graphic>
          <a:graphicData uri="http://schemas.openxmlformats.org/presentationml/2006/ole">
            <mc:AlternateContent xmlns:mc="http://schemas.openxmlformats.org/markup-compatibility/2006">
              <mc:Choice xmlns:v="urn:schemas-microsoft-com:vml" Requires="v">
                <p:oleObj spid="_x0000_s54288" name="Arbeitsblatt" showAsIcon="1" r:id="rId4" imgW="914400" imgH="792360" progId="Excel.Sheet.12">
                  <p:embed/>
                </p:oleObj>
              </mc:Choice>
              <mc:Fallback>
                <p:oleObj name="Arbeitsblatt" showAsIcon="1" r:id="rId4" imgW="914400" imgH="792360" progId="Excel.Sheet.12">
                  <p:embed/>
                  <p:pic>
                    <p:nvPicPr>
                      <p:cNvPr id="0" name=""/>
                      <p:cNvPicPr/>
                      <p:nvPr/>
                    </p:nvPicPr>
                    <p:blipFill>
                      <a:blip r:embed="rId5"/>
                      <a:stretch>
                        <a:fillRect/>
                      </a:stretch>
                    </p:blipFill>
                    <p:spPr>
                      <a:xfrm>
                        <a:off x="5105350" y="2420888"/>
                        <a:ext cx="1681337" cy="1456576"/>
                      </a:xfrm>
                      <a:prstGeom prst="rect">
                        <a:avLst/>
                      </a:prstGeom>
                    </p:spPr>
                  </p:pic>
                </p:oleObj>
              </mc:Fallback>
            </mc:AlternateContent>
          </a:graphicData>
        </a:graphic>
      </p:graphicFrame>
    </p:spTree>
    <p:extLst>
      <p:ext uri="{BB962C8B-B14F-4D97-AF65-F5344CB8AC3E}">
        <p14:creationId xmlns:p14="http://schemas.microsoft.com/office/powerpoint/2010/main" val="33153025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2670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Die Vorsteuer</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a:solidFill>
                    <a:schemeClr val="bg1"/>
                  </a:solidFill>
                  <a:latin typeface="Calibri" panose="020F0502020204030204" pitchFamily="34" charset="0"/>
                  <a:cs typeface="Calibri" panose="020F0502020204030204" pitchFamily="34" charset="0"/>
                </a:rPr>
                <a:t>7</a:t>
              </a: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36</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291514824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12862" y="533009"/>
            <a:ext cx="2880320" cy="379140"/>
          </a:xfrm>
        </p:spPr>
        <p:txBody>
          <a:bodyPr/>
          <a:lstStyle/>
          <a:p>
            <a:r>
              <a:rPr lang="de-DE" dirty="0" smtClean="0">
                <a:latin typeface="Calibri" panose="020F0502020204030204" pitchFamily="34" charset="0"/>
                <a:cs typeface="Calibri" panose="020F0502020204030204" pitchFamily="34" charset="0"/>
              </a:rPr>
              <a:t>Vorsteuerabzug</a:t>
            </a:r>
            <a:endParaRPr lang="de-D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6" name="Inhaltsplatzhalter 3"/>
          <p:cNvGraphicFramePr>
            <a:graphicFrameLocks/>
          </p:cNvGraphicFramePr>
          <p:nvPr>
            <p:extLst>
              <p:ext uri="{D42A27DB-BD31-4B8C-83A1-F6EECF244321}">
                <p14:modId xmlns:p14="http://schemas.microsoft.com/office/powerpoint/2010/main" val="3372869133"/>
              </p:ext>
            </p:extLst>
          </p:nvPr>
        </p:nvGraphicFramePr>
        <p:xfrm>
          <a:off x="136798" y="1340768"/>
          <a:ext cx="7632848" cy="5040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Inhaltsplatzhalter 3"/>
          <p:cNvGraphicFramePr>
            <a:graphicFrameLocks/>
          </p:cNvGraphicFramePr>
          <p:nvPr>
            <p:extLst>
              <p:ext uri="{D42A27DB-BD31-4B8C-83A1-F6EECF244321}">
                <p14:modId xmlns:p14="http://schemas.microsoft.com/office/powerpoint/2010/main" val="1361429606"/>
              </p:ext>
            </p:extLst>
          </p:nvPr>
        </p:nvGraphicFramePr>
        <p:xfrm>
          <a:off x="7769646" y="548680"/>
          <a:ext cx="4896544" cy="36724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7" name="Datumsplatzhalter 26"/>
          <p:cNvSpPr>
            <a:spLocks noGrp="1"/>
          </p:cNvSpPr>
          <p:nvPr>
            <p:ph type="dt" sz="half" idx="10"/>
          </p:nvPr>
        </p:nvSpPr>
        <p:spPr/>
        <p:txBody>
          <a:bodyPr/>
          <a:lstStyle/>
          <a:p>
            <a:pPr>
              <a:defRPr/>
            </a:pPr>
            <a:fld id="{AD7E4B5E-6C9B-4FE5-8D6E-62ADE78AA6E4}" type="datetime1">
              <a:rPr lang="de-DE" altLang="en-US" smtClean="0"/>
              <a:t>06.07.2021</a:t>
            </a:fld>
            <a:endParaRPr lang="de-DE" altLang="en-US"/>
          </a:p>
        </p:txBody>
      </p:sp>
      <p:sp>
        <p:nvSpPr>
          <p:cNvPr id="28" name="Fußzeilenplatzhalter 27"/>
          <p:cNvSpPr>
            <a:spLocks noGrp="1"/>
          </p:cNvSpPr>
          <p:nvPr>
            <p:ph type="ftr" sz="quarter" idx="11"/>
          </p:nvPr>
        </p:nvSpPr>
        <p:spPr/>
        <p:txBody>
          <a:bodyPr/>
          <a:lstStyle/>
          <a:p>
            <a:pPr>
              <a:defRPr/>
            </a:pPr>
            <a:r>
              <a:rPr lang="de-DE" altLang="en-US" smtClean="0"/>
              <a:t>EKHN</a:t>
            </a:r>
            <a:endParaRPr lang="de-DE" altLang="en-US"/>
          </a:p>
        </p:txBody>
      </p:sp>
      <p:sp>
        <p:nvSpPr>
          <p:cNvPr id="29" name="Foliennummernplatzhalter 28"/>
          <p:cNvSpPr>
            <a:spLocks noGrp="1"/>
          </p:cNvSpPr>
          <p:nvPr>
            <p:ph type="sldNum" sz="quarter" idx="12"/>
          </p:nvPr>
        </p:nvSpPr>
        <p:spPr/>
        <p:txBody>
          <a:bodyPr/>
          <a:lstStyle/>
          <a:p>
            <a:pPr>
              <a:defRPr/>
            </a:pPr>
            <a:fld id="{BEA88772-2E14-493F-A726-E8A7A8CFB7CD}" type="slidenum">
              <a:rPr lang="de-DE" altLang="en-US" smtClean="0"/>
              <a:pPr>
                <a:defRPr/>
              </a:pPr>
              <a:t>37</a:t>
            </a:fld>
            <a:endParaRPr lang="de-DE" altLang="en-US"/>
          </a:p>
        </p:txBody>
      </p:sp>
    </p:spTree>
    <p:extLst>
      <p:ext uri="{BB962C8B-B14F-4D97-AF65-F5344CB8AC3E}">
        <p14:creationId xmlns:p14="http://schemas.microsoft.com/office/powerpoint/2010/main" val="40463327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7564" y="1772816"/>
            <a:ext cx="11411797" cy="4246984"/>
          </a:xfrm>
        </p:spPr>
        <p:txBody>
          <a:bodyPr/>
          <a:lstStyle/>
          <a:p>
            <a:pPr>
              <a:buFont typeface="Symbol" panose="05050102010706020507" pitchFamily="18" charset="2"/>
              <a:buChar char="-"/>
            </a:pPr>
            <a:r>
              <a:rPr lang="de-DE" sz="1800" b="0" dirty="0" smtClean="0">
                <a:solidFill>
                  <a:srgbClr val="572381"/>
                </a:solidFill>
                <a:latin typeface="Calibri" panose="020F0502020204030204" pitchFamily="34" charset="0"/>
                <a:cs typeface="Calibri" panose="020F0502020204030204" pitchFamily="34" charset="0"/>
              </a:rPr>
              <a:t>Nach §15 Abs. 1 UStG sind zum Vorsteuerabzug </a:t>
            </a:r>
            <a:r>
              <a:rPr lang="de-DE" sz="1800" dirty="0" smtClean="0">
                <a:solidFill>
                  <a:srgbClr val="572381"/>
                </a:solidFill>
                <a:latin typeface="Calibri" panose="020F0502020204030204" pitchFamily="34" charset="0"/>
                <a:cs typeface="Calibri" panose="020F0502020204030204" pitchFamily="34" charset="0"/>
              </a:rPr>
              <a:t>nur Unternehmer </a:t>
            </a:r>
            <a:r>
              <a:rPr lang="de-DE" sz="1800" b="0" dirty="0" smtClean="0">
                <a:solidFill>
                  <a:srgbClr val="572381"/>
                </a:solidFill>
                <a:latin typeface="Calibri" panose="020F0502020204030204" pitchFamily="34" charset="0"/>
                <a:cs typeface="Calibri" panose="020F0502020204030204" pitchFamily="34" charset="0"/>
              </a:rPr>
              <a:t>berechtigt</a:t>
            </a:r>
            <a:endParaRPr lang="de-DE" sz="1800" b="0" dirty="0">
              <a:solidFill>
                <a:srgbClr val="572381"/>
              </a:solidFill>
              <a:latin typeface="Calibri" panose="020F0502020204030204" pitchFamily="34" charset="0"/>
              <a:cs typeface="Calibri" panose="020F0502020204030204" pitchFamily="34" charset="0"/>
            </a:endParaRPr>
          </a:p>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Kein Vorsteuerabzug </a:t>
            </a:r>
            <a:r>
              <a:rPr lang="de-DE" sz="1800" dirty="0">
                <a:solidFill>
                  <a:srgbClr val="572381"/>
                </a:solidFill>
                <a:latin typeface="Calibri" panose="020F0502020204030204" pitchFamily="34" charset="0"/>
                <a:cs typeface="Calibri" panose="020F0502020204030204" pitchFamily="34" charset="0"/>
              </a:rPr>
              <a:t>ohne</a:t>
            </a:r>
            <a:r>
              <a:rPr lang="de-DE" sz="1800" b="0" dirty="0">
                <a:solidFill>
                  <a:srgbClr val="572381"/>
                </a:solidFill>
                <a:latin typeface="Calibri" panose="020F0502020204030204" pitchFamily="34" charset="0"/>
                <a:cs typeface="Calibri" panose="020F0502020204030204" pitchFamily="34" charset="0"/>
              </a:rPr>
              <a:t> rechtmäßige Rechnung</a:t>
            </a:r>
          </a:p>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In </a:t>
            </a:r>
            <a:r>
              <a:rPr lang="de-DE" sz="1800" b="0" dirty="0" smtClean="0">
                <a:solidFill>
                  <a:srgbClr val="572381"/>
                </a:solidFill>
                <a:latin typeface="Calibri" panose="020F0502020204030204" pitchFamily="34" charset="0"/>
                <a:cs typeface="Calibri" panose="020F0502020204030204" pitchFamily="34" charset="0"/>
              </a:rPr>
              <a:t>der Rechnung sind die enthaltenen </a:t>
            </a:r>
            <a:r>
              <a:rPr lang="de-DE" sz="1800" b="0" dirty="0">
                <a:solidFill>
                  <a:srgbClr val="572381"/>
                </a:solidFill>
                <a:latin typeface="Calibri" panose="020F0502020204030204" pitchFamily="34" charset="0"/>
                <a:cs typeface="Calibri" panose="020F0502020204030204" pitchFamily="34" charset="0"/>
              </a:rPr>
              <a:t>Angaben auf </a:t>
            </a:r>
            <a:r>
              <a:rPr lang="de-DE" sz="1800" dirty="0">
                <a:solidFill>
                  <a:srgbClr val="572381"/>
                </a:solidFill>
                <a:latin typeface="Calibri" panose="020F0502020204030204" pitchFamily="34" charset="0"/>
                <a:cs typeface="Calibri" panose="020F0502020204030204" pitchFamily="34" charset="0"/>
              </a:rPr>
              <a:t>Vollständigkeit</a:t>
            </a:r>
            <a:r>
              <a:rPr lang="de-DE" sz="1800" b="0" dirty="0">
                <a:solidFill>
                  <a:srgbClr val="572381"/>
                </a:solidFill>
                <a:latin typeface="Calibri" panose="020F0502020204030204" pitchFamily="34" charset="0"/>
                <a:cs typeface="Calibri" panose="020F0502020204030204" pitchFamily="34" charset="0"/>
              </a:rPr>
              <a:t> und auf </a:t>
            </a:r>
            <a:r>
              <a:rPr lang="de-DE" sz="1800" dirty="0">
                <a:solidFill>
                  <a:srgbClr val="572381"/>
                </a:solidFill>
                <a:latin typeface="Calibri" panose="020F0502020204030204" pitchFamily="34" charset="0"/>
                <a:cs typeface="Calibri" panose="020F0502020204030204" pitchFamily="34" charset="0"/>
              </a:rPr>
              <a:t>Richtigkeit</a:t>
            </a:r>
            <a:r>
              <a:rPr lang="de-DE" sz="1800" b="0" dirty="0">
                <a:solidFill>
                  <a:srgbClr val="572381"/>
                </a:solidFill>
                <a:latin typeface="Calibri" panose="020F0502020204030204" pitchFamily="34" charset="0"/>
                <a:cs typeface="Calibri" panose="020F0502020204030204" pitchFamily="34" charset="0"/>
              </a:rPr>
              <a:t> zu überprüfen.</a:t>
            </a:r>
          </a:p>
          <a:p>
            <a:pPr>
              <a:buFont typeface="Symbol" panose="05050102010706020507" pitchFamily="18" charset="2"/>
              <a:buChar char="-"/>
            </a:pPr>
            <a:r>
              <a:rPr lang="de-DE" sz="1800" b="0" dirty="0" smtClean="0">
                <a:solidFill>
                  <a:srgbClr val="572381"/>
                </a:solidFill>
                <a:latin typeface="Calibri" panose="020F0502020204030204" pitchFamily="34" charset="0"/>
                <a:cs typeface="Calibri" panose="020F0502020204030204" pitchFamily="34" charset="0"/>
              </a:rPr>
              <a:t>Ist die Angabe </a:t>
            </a:r>
            <a:r>
              <a:rPr lang="de-DE" sz="1800" b="0" dirty="0">
                <a:solidFill>
                  <a:srgbClr val="572381"/>
                </a:solidFill>
                <a:latin typeface="Calibri" panose="020F0502020204030204" pitchFamily="34" charset="0"/>
                <a:cs typeface="Calibri" panose="020F0502020204030204" pitchFamily="34" charset="0"/>
              </a:rPr>
              <a:t>des leistenden Unternehmers auf der Rechnung falsch – kein </a:t>
            </a:r>
            <a:r>
              <a:rPr lang="de-DE" sz="1800" b="0" dirty="0" smtClean="0">
                <a:solidFill>
                  <a:srgbClr val="572381"/>
                </a:solidFill>
                <a:latin typeface="Calibri" panose="020F0502020204030204" pitchFamily="34" charset="0"/>
                <a:cs typeface="Calibri" panose="020F0502020204030204" pitchFamily="34" charset="0"/>
              </a:rPr>
              <a:t>Vorsteuerabzug</a:t>
            </a:r>
          </a:p>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Keine handschriftliche Änderung der Rechnung durch den </a:t>
            </a:r>
            <a:r>
              <a:rPr lang="de-DE" sz="1800" b="0" dirty="0" smtClean="0">
                <a:solidFill>
                  <a:srgbClr val="572381"/>
                </a:solidFill>
                <a:latin typeface="Calibri" panose="020F0502020204030204" pitchFamily="34" charset="0"/>
                <a:cs typeface="Calibri" panose="020F0502020204030204" pitchFamily="34" charset="0"/>
              </a:rPr>
              <a:t>Leistungsempfänger</a:t>
            </a:r>
            <a:endParaRPr lang="de-DE" sz="1800" b="0" dirty="0">
              <a:solidFill>
                <a:srgbClr val="572381"/>
              </a:solidFill>
              <a:latin typeface="Calibri" panose="020F0502020204030204" pitchFamily="34" charset="0"/>
              <a:cs typeface="Calibri" panose="020F0502020204030204" pitchFamily="34" charset="0"/>
            </a:endParaRPr>
          </a:p>
          <a:p>
            <a:pPr>
              <a:buFont typeface="Symbol" panose="05050102010706020507" pitchFamily="18" charset="2"/>
              <a:buChar char="-"/>
            </a:pPr>
            <a:r>
              <a:rPr lang="de-DE" sz="1800" dirty="0">
                <a:solidFill>
                  <a:srgbClr val="572381"/>
                </a:solidFill>
                <a:latin typeface="Calibri" panose="020F0502020204030204" pitchFamily="34" charset="0"/>
                <a:cs typeface="Calibri" panose="020F0502020204030204" pitchFamily="34" charset="0"/>
              </a:rPr>
              <a:t>Beachte</a:t>
            </a:r>
            <a:r>
              <a:rPr lang="de-DE" sz="1800" b="0" dirty="0">
                <a:solidFill>
                  <a:srgbClr val="FF0000"/>
                </a:solidFill>
                <a:latin typeface="Calibri" panose="020F0502020204030204" pitchFamily="34" charset="0"/>
                <a:cs typeface="Calibri" panose="020F0502020204030204" pitchFamily="34" charset="0"/>
              </a:rPr>
              <a:t>!</a:t>
            </a:r>
            <a:r>
              <a:rPr lang="de-DE" sz="1800" b="0" dirty="0">
                <a:solidFill>
                  <a:srgbClr val="572381"/>
                </a:solidFill>
                <a:latin typeface="Calibri" panose="020F0502020204030204" pitchFamily="34" charset="0"/>
                <a:cs typeface="Calibri" panose="020F0502020204030204" pitchFamily="34" charset="0"/>
              </a:rPr>
              <a:t> Ungenauigkeiten wie </a:t>
            </a:r>
            <a:r>
              <a:rPr lang="de-DE" sz="1800" b="0" dirty="0" smtClean="0">
                <a:solidFill>
                  <a:srgbClr val="572381"/>
                </a:solidFill>
                <a:latin typeface="Calibri" panose="020F0502020204030204" pitchFamily="34" charset="0"/>
                <a:cs typeface="Calibri" panose="020F0502020204030204" pitchFamily="34" charset="0"/>
              </a:rPr>
              <a:t>z.B. Schreibfehler </a:t>
            </a:r>
            <a:r>
              <a:rPr lang="de-DE" sz="1800" b="0" dirty="0">
                <a:solidFill>
                  <a:srgbClr val="572381"/>
                </a:solidFill>
                <a:latin typeface="Calibri" panose="020F0502020204030204" pitchFamily="34" charset="0"/>
                <a:cs typeface="Calibri" panose="020F0502020204030204" pitchFamily="34" charset="0"/>
              </a:rPr>
              <a:t>im Namen oder Anschrift des leistenden Unternehmers oder Leistungsempfängers </a:t>
            </a:r>
            <a:r>
              <a:rPr lang="de-DE" sz="1800" b="0" dirty="0" smtClean="0">
                <a:solidFill>
                  <a:srgbClr val="572381"/>
                </a:solidFill>
                <a:latin typeface="Calibri" panose="020F0502020204030204" pitchFamily="34" charset="0"/>
                <a:cs typeface="Calibri" panose="020F0502020204030204" pitchFamily="34" charset="0"/>
              </a:rPr>
              <a:t>führt </a:t>
            </a:r>
            <a:r>
              <a:rPr lang="de-DE" sz="1800" b="0" dirty="0">
                <a:solidFill>
                  <a:srgbClr val="572381"/>
                </a:solidFill>
                <a:latin typeface="Calibri" panose="020F0502020204030204" pitchFamily="34" charset="0"/>
                <a:cs typeface="Calibri" panose="020F0502020204030204" pitchFamily="34" charset="0"/>
              </a:rPr>
              <a:t>nicht zur Versagung des Vorsteuerabzugs</a:t>
            </a:r>
          </a:p>
        </p:txBody>
      </p:sp>
      <p:sp>
        <p:nvSpPr>
          <p:cNvPr id="3" name="Titel 2"/>
          <p:cNvSpPr>
            <a:spLocks noGrp="1"/>
          </p:cNvSpPr>
          <p:nvPr>
            <p:ph type="title"/>
          </p:nvPr>
        </p:nvSpPr>
        <p:spPr>
          <a:xfrm>
            <a:off x="1010420" y="476672"/>
            <a:ext cx="4238946" cy="379140"/>
          </a:xfrm>
        </p:spPr>
        <p:txBody>
          <a:bodyPr/>
          <a:lstStyle/>
          <a:p>
            <a:r>
              <a:rPr lang="de-DE" dirty="0" smtClean="0">
                <a:latin typeface="Calibri" panose="020F0502020204030204" pitchFamily="34" charset="0"/>
                <a:cs typeface="Calibri" panose="020F0502020204030204" pitchFamily="34" charset="0"/>
              </a:rPr>
              <a:t>Gewährung des Vorsteuerabzugs</a:t>
            </a:r>
            <a:endParaRPr lang="de-DE" dirty="0">
              <a:latin typeface="Calibri" panose="020F0502020204030204" pitchFamily="34" charset="0"/>
              <a:cs typeface="Calibri" panose="020F0502020204030204" pitchFamily="34" charset="0"/>
            </a:endParaRPr>
          </a:p>
        </p:txBody>
      </p:sp>
      <p:pic>
        <p:nvPicPr>
          <p:cNvPr id="4" name="Grafik 3"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266" y="4549104"/>
            <a:ext cx="1395463" cy="917784"/>
          </a:xfrm>
          <a:prstGeom prst="rect">
            <a:avLst/>
          </a:prstGeom>
        </p:spPr>
      </p:pic>
      <p:sp>
        <p:nvSpPr>
          <p:cNvPr id="5"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pic>
        <p:nvPicPr>
          <p:cNvPr id="6" name="Grafik 5"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43874" y="4549104"/>
            <a:ext cx="1395463" cy="917784"/>
          </a:xfrm>
          <a:prstGeom prst="rect">
            <a:avLst/>
          </a:prstGeom>
        </p:spPr>
      </p:pic>
      <p:sp>
        <p:nvSpPr>
          <p:cNvPr id="7" name="Datumsplatzhalter 6"/>
          <p:cNvSpPr>
            <a:spLocks noGrp="1"/>
          </p:cNvSpPr>
          <p:nvPr>
            <p:ph type="dt" sz="half" idx="10"/>
          </p:nvPr>
        </p:nvSpPr>
        <p:spPr/>
        <p:txBody>
          <a:bodyPr/>
          <a:lstStyle/>
          <a:p>
            <a:pPr>
              <a:defRPr/>
            </a:pPr>
            <a:fld id="{7092433F-450F-41FB-B9B0-C5EB4A00EA39}" type="datetime1">
              <a:rPr lang="de-DE" altLang="en-US" smtClean="0"/>
              <a:t>06.07.2021</a:t>
            </a:fld>
            <a:endParaRPr lang="de-DE" altLang="en-US"/>
          </a:p>
        </p:txBody>
      </p:sp>
      <p:sp>
        <p:nvSpPr>
          <p:cNvPr id="8" name="Fußzeilenplatzhalter 7"/>
          <p:cNvSpPr>
            <a:spLocks noGrp="1"/>
          </p:cNvSpPr>
          <p:nvPr>
            <p:ph type="ftr" sz="quarter" idx="11"/>
          </p:nvPr>
        </p:nvSpPr>
        <p:spPr/>
        <p:txBody>
          <a:bodyPr/>
          <a:lstStyle/>
          <a:p>
            <a:pPr>
              <a:defRPr/>
            </a:pPr>
            <a:r>
              <a:rPr lang="de-DE" altLang="en-US" smtClean="0"/>
              <a:t>EKHN</a:t>
            </a:r>
            <a:endParaRPr lang="de-DE" altLang="en-US"/>
          </a:p>
        </p:txBody>
      </p:sp>
      <p:sp>
        <p:nvSpPr>
          <p:cNvPr id="9" name="Foliennummernplatzhalter 8"/>
          <p:cNvSpPr>
            <a:spLocks noGrp="1"/>
          </p:cNvSpPr>
          <p:nvPr>
            <p:ph type="sldNum" sz="quarter" idx="12"/>
          </p:nvPr>
        </p:nvSpPr>
        <p:spPr/>
        <p:txBody>
          <a:bodyPr/>
          <a:lstStyle/>
          <a:p>
            <a:pPr>
              <a:defRPr/>
            </a:pPr>
            <a:fld id="{BEA88772-2E14-493F-A726-E8A7A8CFB7CD}" type="slidenum">
              <a:rPr lang="de-DE" altLang="en-US" smtClean="0"/>
              <a:pPr>
                <a:defRPr/>
              </a:pPr>
              <a:t>38</a:t>
            </a:fld>
            <a:endParaRPr lang="de-DE" altLang="en-US"/>
          </a:p>
        </p:txBody>
      </p:sp>
    </p:spTree>
    <p:extLst>
      <p:ext uri="{BB962C8B-B14F-4D97-AF65-F5344CB8AC3E}">
        <p14:creationId xmlns:p14="http://schemas.microsoft.com/office/powerpoint/2010/main" val="22675858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19561"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70" name="Flowchart: Process 69">
            <a:extLst>
              <a:ext uri="{FF2B5EF4-FFF2-40B4-BE49-F238E27FC236}">
                <a16:creationId xmlns:a16="http://schemas.microsoft.com/office/drawing/2014/main" xmlns="" id="{EA0D0DEB-4277-4E1D-AFE7-BCADA77E699C}"/>
              </a:ext>
            </a:extLst>
          </p:cNvPr>
          <p:cNvSpPr/>
          <p:nvPr/>
        </p:nvSpPr>
        <p:spPr>
          <a:xfrm>
            <a:off x="412209" y="2253304"/>
            <a:ext cx="577650" cy="576000"/>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b="1" dirty="0">
              <a:solidFill>
                <a:schemeClr val="accent3"/>
              </a:solidFill>
              <a:latin typeface="Calibri" panose="020F0502020204030204" pitchFamily="34" charset="0"/>
              <a:cs typeface="Calibri" panose="020F0502020204030204" pitchFamily="34" charset="0"/>
            </a:endParaRPr>
          </a:p>
        </p:txBody>
      </p:sp>
      <p:sp>
        <p:nvSpPr>
          <p:cNvPr id="13" name="Title 1">
            <a:extLst>
              <a:ext uri="{FF2B5EF4-FFF2-40B4-BE49-F238E27FC236}">
                <a16:creationId xmlns:a16="http://schemas.microsoft.com/office/drawing/2014/main" xmlns="" id="{A9BDD5F1-00B1-4BBD-80A1-AD0E8379F4E7}"/>
              </a:ext>
            </a:extLst>
          </p:cNvPr>
          <p:cNvSpPr txBox="1">
            <a:spLocks/>
          </p:cNvSpPr>
          <p:nvPr/>
        </p:nvSpPr>
        <p:spPr>
          <a:xfrm>
            <a:off x="451972" y="449287"/>
            <a:ext cx="2637154" cy="17140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RAHMENBEDINGUNGEN</a:t>
            </a:r>
          </a:p>
          <a:p>
            <a:pPr>
              <a:spcAft>
                <a:spcPts val="600"/>
              </a:spcAft>
            </a:pPr>
            <a:endParaRPr lang="de-DE" sz="1400" dirty="0">
              <a:latin typeface="Calibri" panose="020F0502020204030204" pitchFamily="34" charset="0"/>
              <a:cs typeface="Times New Roman" panose="02020603050405020304" pitchFamily="18" charset="0"/>
            </a:endParaRPr>
          </a:p>
        </p:txBody>
      </p:sp>
      <p:sp>
        <p:nvSpPr>
          <p:cNvPr id="11" name="Slide Number Placeholder 8">
            <a:extLst>
              <a:ext uri="{FF2B5EF4-FFF2-40B4-BE49-F238E27FC236}">
                <a16:creationId xmlns:a16="http://schemas.microsoft.com/office/drawing/2014/main" xmlns="" id="{B60CFDCC-D4EB-4E1C-9C9A-2CD90EA4DDA0}"/>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70704B-CE94-48CC-AF30-84932A1262A7}" type="slidenum">
              <a:rPr lang="de-DE" smtClean="0"/>
              <a:pPr/>
              <a:t>39</a:t>
            </a:fld>
            <a:endParaRPr lang="de-DE" dirty="0"/>
          </a:p>
        </p:txBody>
      </p:sp>
      <p:sp>
        <p:nvSpPr>
          <p:cNvPr id="12" name="Date Placeholder 11">
            <a:extLst>
              <a:ext uri="{FF2B5EF4-FFF2-40B4-BE49-F238E27FC236}">
                <a16:creationId xmlns:a16="http://schemas.microsoft.com/office/drawing/2014/main" xmlns="" id="{67CAD1B1-1B53-4DF5-9CEA-59582C23434A}"/>
              </a:ext>
            </a:extLst>
          </p:cNvPr>
          <p:cNvSpPr>
            <a:spLocks noGrp="1"/>
          </p:cNvSpPr>
          <p:nvPr>
            <p:ph type="dt" sz="half" idx="10"/>
          </p:nvPr>
        </p:nvSpPr>
        <p:spPr/>
        <p:txBody>
          <a:bodyPr/>
          <a:lstStyle/>
          <a:p>
            <a:fld id="{EDE73C5A-6358-4ADF-A72D-80F207EB96FB}" type="datetime1">
              <a:rPr lang="de-DE" smtClean="0"/>
              <a:t>06.07.2021</a:t>
            </a:fld>
            <a:endParaRPr lang="de-DE" dirty="0"/>
          </a:p>
        </p:txBody>
      </p:sp>
      <p:sp>
        <p:nvSpPr>
          <p:cNvPr id="19" name="Footer Placeholder 18">
            <a:extLst>
              <a:ext uri="{FF2B5EF4-FFF2-40B4-BE49-F238E27FC236}">
                <a16:creationId xmlns:a16="http://schemas.microsoft.com/office/drawing/2014/main" xmlns="" id="{07A84386-C6C4-4C1C-A906-FDC416943E65}"/>
              </a:ext>
            </a:extLst>
          </p:cNvPr>
          <p:cNvSpPr>
            <a:spLocks noGrp="1"/>
          </p:cNvSpPr>
          <p:nvPr>
            <p:ph type="ftr" sz="quarter" idx="11"/>
          </p:nvPr>
        </p:nvSpPr>
        <p:spPr/>
        <p:txBody>
          <a:bodyPr/>
          <a:lstStyle/>
          <a:p>
            <a:r>
              <a:rPr lang="de-DE" dirty="0"/>
              <a:t>EKHN</a:t>
            </a:r>
          </a:p>
        </p:txBody>
      </p:sp>
      <p:sp>
        <p:nvSpPr>
          <p:cNvPr id="6" name="Rectangle 5">
            <a:extLst>
              <a:ext uri="{FF2B5EF4-FFF2-40B4-BE49-F238E27FC236}">
                <a16:creationId xmlns:a16="http://schemas.microsoft.com/office/drawing/2014/main" xmlns="" id="{6605E137-5077-4674-8EA1-7A467411A7E2}"/>
              </a:ext>
            </a:extLst>
          </p:cNvPr>
          <p:cNvSpPr/>
          <p:nvPr/>
        </p:nvSpPr>
        <p:spPr>
          <a:xfrm>
            <a:off x="701036" y="2849752"/>
            <a:ext cx="4429784" cy="1423430"/>
          </a:xfrm>
          <a:prstGeom prst="rect">
            <a:avLst/>
          </a:prstGeom>
          <a:solidFill>
            <a:schemeClr val="bg1">
              <a:lumMod val="85000"/>
            </a:schemeClr>
          </a:solidFill>
        </p:spPr>
        <p:txBody>
          <a:bodyPr wrap="square" lIns="144000" tIns="144000" rIns="144000" bIns="144000" anchor="ctr">
            <a:spAutoFit/>
          </a:bodyPr>
          <a:lstStyle/>
          <a:p>
            <a:pPr>
              <a:lnSpc>
                <a:spcPct val="115000"/>
              </a:lnSpc>
            </a:pPr>
            <a:r>
              <a:rPr lang="de-DE" sz="1600" dirty="0" smtClean="0">
                <a:solidFill>
                  <a:srgbClr val="572381"/>
                </a:solidFill>
                <a:latin typeface="Calibri" panose="020F0502020204030204" pitchFamily="34" charset="0"/>
                <a:ea typeface="Calibri" panose="020F0502020204030204" pitchFamily="34" charset="0"/>
                <a:cs typeface="Times New Roman" panose="02020603050405020304" pitchFamily="18" charset="0"/>
              </a:rPr>
              <a:t>Folgende Fälle für einen gesondert ausgewiesenen Steuerbetrag,  der nicht für den berechneten Umsatz geschuldet wird,  dürfen nicht als Vorsteuer abgezogen werden</a:t>
            </a:r>
            <a:endParaRPr lang="de-DE" sz="1600" dirty="0">
              <a:solidFill>
                <a:srgbClr val="572381"/>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43" name="Straight Connector 42">
            <a:extLst>
              <a:ext uri="{FF2B5EF4-FFF2-40B4-BE49-F238E27FC236}">
                <a16:creationId xmlns:a16="http://schemas.microsoft.com/office/drawing/2014/main" xmlns="" id="{612424EE-FD54-4437-9D6C-F8917AB2DCF6}"/>
              </a:ext>
            </a:extLst>
          </p:cNvPr>
          <p:cNvCxnSpPr>
            <a:cxnSpLocks/>
            <a:stCxn id="6" idx="3"/>
            <a:endCxn id="40" idx="1"/>
          </p:cNvCxnSpPr>
          <p:nvPr/>
        </p:nvCxnSpPr>
        <p:spPr>
          <a:xfrm flipV="1">
            <a:off x="5130820" y="2272788"/>
            <a:ext cx="1693368" cy="1288679"/>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xmlns="" id="{575CEE4D-DA38-41DB-BC3D-67E83FB86042}"/>
              </a:ext>
            </a:extLst>
          </p:cNvPr>
          <p:cNvCxnSpPr>
            <a:cxnSpLocks/>
            <a:stCxn id="6" idx="3"/>
            <a:endCxn id="37" idx="1"/>
          </p:cNvCxnSpPr>
          <p:nvPr/>
        </p:nvCxnSpPr>
        <p:spPr>
          <a:xfrm flipV="1">
            <a:off x="5130820" y="3334007"/>
            <a:ext cx="1693368" cy="22746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xmlns="" id="{8F337955-D284-4195-BD09-62928C75BCAC}"/>
              </a:ext>
            </a:extLst>
          </p:cNvPr>
          <p:cNvCxnSpPr>
            <a:cxnSpLocks/>
            <a:stCxn id="6" idx="3"/>
            <a:endCxn id="34" idx="1"/>
          </p:cNvCxnSpPr>
          <p:nvPr/>
        </p:nvCxnSpPr>
        <p:spPr>
          <a:xfrm>
            <a:off x="5130820" y="3561467"/>
            <a:ext cx="1693368" cy="833757"/>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nvGrpSpPr>
          <p:cNvPr id="72" name="Group 71">
            <a:extLst>
              <a:ext uri="{FF2B5EF4-FFF2-40B4-BE49-F238E27FC236}">
                <a16:creationId xmlns:a16="http://schemas.microsoft.com/office/drawing/2014/main" xmlns="" id="{4A8E2ABF-464A-4B22-AE3C-5B495D196D8E}"/>
              </a:ext>
            </a:extLst>
          </p:cNvPr>
          <p:cNvGrpSpPr/>
          <p:nvPr/>
        </p:nvGrpSpPr>
        <p:grpSpPr>
          <a:xfrm>
            <a:off x="6824188" y="1924258"/>
            <a:ext cx="4304403" cy="3872862"/>
            <a:chOff x="5896266" y="2423987"/>
            <a:chExt cx="4292108" cy="3675145"/>
          </a:xfrm>
        </p:grpSpPr>
        <p:grpSp>
          <p:nvGrpSpPr>
            <p:cNvPr id="28" name="Group 27">
              <a:extLst>
                <a:ext uri="{FF2B5EF4-FFF2-40B4-BE49-F238E27FC236}">
                  <a16:creationId xmlns:a16="http://schemas.microsoft.com/office/drawing/2014/main" xmlns="" id="{34DAF50A-E644-4AC5-9F67-C9749CF59D09}"/>
                </a:ext>
              </a:extLst>
            </p:cNvPr>
            <p:cNvGrpSpPr/>
            <p:nvPr/>
          </p:nvGrpSpPr>
          <p:grpSpPr>
            <a:xfrm>
              <a:off x="5896266" y="2423987"/>
              <a:ext cx="4292108" cy="3471199"/>
              <a:chOff x="1328222" y="2315391"/>
              <a:chExt cx="9644117" cy="3471199"/>
            </a:xfrm>
          </p:grpSpPr>
          <p:grpSp>
            <p:nvGrpSpPr>
              <p:cNvPr id="29" name="Group 28">
                <a:extLst>
                  <a:ext uri="{FF2B5EF4-FFF2-40B4-BE49-F238E27FC236}">
                    <a16:creationId xmlns:a16="http://schemas.microsoft.com/office/drawing/2014/main" xmlns="" id="{F16F75FC-7B50-402B-A3F6-6E19CE3BC0D9}"/>
                  </a:ext>
                </a:extLst>
              </p:cNvPr>
              <p:cNvGrpSpPr/>
              <p:nvPr/>
            </p:nvGrpSpPr>
            <p:grpSpPr>
              <a:xfrm>
                <a:off x="1328222" y="2315391"/>
                <a:ext cx="9644117" cy="661472"/>
                <a:chOff x="824947" y="2691975"/>
                <a:chExt cx="9644117" cy="440276"/>
              </a:xfrm>
            </p:grpSpPr>
            <p:sp>
              <p:nvSpPr>
                <p:cNvPr id="40" name="Rectangle: Rounded Corners 39">
                  <a:extLst>
                    <a:ext uri="{FF2B5EF4-FFF2-40B4-BE49-F238E27FC236}">
                      <a16:creationId xmlns:a16="http://schemas.microsoft.com/office/drawing/2014/main" xmlns="" id="{1EE95D9D-7A21-4A7C-9C87-52BBA9644F2E}"/>
                    </a:ext>
                  </a:extLst>
                </p:cNvPr>
                <p:cNvSpPr/>
                <p:nvPr/>
              </p:nvSpPr>
              <p:spPr>
                <a:xfrm>
                  <a:off x="824947" y="2691976"/>
                  <a:ext cx="628667"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41" name="Rectangle 40">
                  <a:extLst>
                    <a:ext uri="{FF2B5EF4-FFF2-40B4-BE49-F238E27FC236}">
                      <a16:creationId xmlns:a16="http://schemas.microsoft.com/office/drawing/2014/main" xmlns="" id="{08B81DEA-D892-4434-A73D-CC19C5C22ABC}"/>
                    </a:ext>
                  </a:extLst>
                </p:cNvPr>
                <p:cNvSpPr/>
                <p:nvPr/>
              </p:nvSpPr>
              <p:spPr>
                <a:xfrm>
                  <a:off x="1407601" y="2691975"/>
                  <a:ext cx="9061463" cy="4402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Umsätze durch den Kleinunternehmer</a:t>
                  </a:r>
                  <a:endParaRPr lang="de-DE" sz="1400" dirty="0">
                    <a:solidFill>
                      <a:srgbClr val="572381"/>
                    </a:solidFill>
                    <a:latin typeface="Calibri" panose="020F0502020204030204" pitchFamily="34" charset="0"/>
                    <a:cs typeface="Times New Roman" panose="02020603050405020304" pitchFamily="18" charset="0"/>
                  </a:endParaRPr>
                </a:p>
              </p:txBody>
            </p:sp>
          </p:grpSp>
          <p:grpSp>
            <p:nvGrpSpPr>
              <p:cNvPr id="31" name="Group 30">
                <a:extLst>
                  <a:ext uri="{FF2B5EF4-FFF2-40B4-BE49-F238E27FC236}">
                    <a16:creationId xmlns:a16="http://schemas.microsoft.com/office/drawing/2014/main" xmlns="" id="{CA18511A-DAB6-4C61-8B56-92CF6E5532D0}"/>
                  </a:ext>
                </a:extLst>
              </p:cNvPr>
              <p:cNvGrpSpPr/>
              <p:nvPr/>
            </p:nvGrpSpPr>
            <p:grpSpPr>
              <a:xfrm>
                <a:off x="1328222" y="3322433"/>
                <a:ext cx="9644117" cy="661472"/>
                <a:chOff x="824947" y="3242322"/>
                <a:chExt cx="9644117" cy="440276"/>
              </a:xfrm>
            </p:grpSpPr>
            <p:sp>
              <p:nvSpPr>
                <p:cNvPr id="37" name="Rectangle: Rounded Corners 36">
                  <a:extLst>
                    <a:ext uri="{FF2B5EF4-FFF2-40B4-BE49-F238E27FC236}">
                      <a16:creationId xmlns:a16="http://schemas.microsoft.com/office/drawing/2014/main" xmlns="" id="{23717167-3E77-475F-AE82-37EE2DC3ACF1}"/>
                    </a:ext>
                  </a:extLst>
                </p:cNvPr>
                <p:cNvSpPr/>
                <p:nvPr/>
              </p:nvSpPr>
              <p:spPr>
                <a:xfrm>
                  <a:off x="824947" y="3242323"/>
                  <a:ext cx="628666"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38" name="Rectangle 37">
                  <a:extLst>
                    <a:ext uri="{FF2B5EF4-FFF2-40B4-BE49-F238E27FC236}">
                      <a16:creationId xmlns:a16="http://schemas.microsoft.com/office/drawing/2014/main" xmlns="" id="{777DC47A-A5C2-4190-899E-1D035867D017}"/>
                    </a:ext>
                  </a:extLst>
                </p:cNvPr>
                <p:cNvSpPr/>
                <p:nvPr/>
              </p:nvSpPr>
              <p:spPr>
                <a:xfrm>
                  <a:off x="1407601" y="3242322"/>
                  <a:ext cx="9061463" cy="4402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unentgeltliche Leistungen</a:t>
                  </a:r>
                  <a:endParaRPr lang="de-DE" sz="1600" dirty="0">
                    <a:solidFill>
                      <a:srgbClr val="572381"/>
                    </a:solidFill>
                    <a:latin typeface="Calibri" panose="020F0502020204030204" pitchFamily="34" charset="0"/>
                    <a:cs typeface="Times New Roman" panose="02020603050405020304" pitchFamily="18" charset="0"/>
                  </a:endParaRPr>
                </a:p>
              </p:txBody>
            </p:sp>
          </p:grpSp>
          <p:grpSp>
            <p:nvGrpSpPr>
              <p:cNvPr id="32" name="Group 31">
                <a:extLst>
                  <a:ext uri="{FF2B5EF4-FFF2-40B4-BE49-F238E27FC236}">
                    <a16:creationId xmlns:a16="http://schemas.microsoft.com/office/drawing/2014/main" xmlns="" id="{1265A863-AEA7-4E97-AF9A-7539BFB42DED}"/>
                  </a:ext>
                </a:extLst>
              </p:cNvPr>
              <p:cNvGrpSpPr/>
              <p:nvPr/>
            </p:nvGrpSpPr>
            <p:grpSpPr>
              <a:xfrm>
                <a:off x="1328222" y="4324249"/>
                <a:ext cx="9635787" cy="666697"/>
                <a:chOff x="824948" y="3807291"/>
                <a:chExt cx="9635787" cy="443754"/>
              </a:xfrm>
            </p:grpSpPr>
            <p:sp>
              <p:nvSpPr>
                <p:cNvPr id="34" name="Rectangle: Rounded Corners 33">
                  <a:extLst>
                    <a:ext uri="{FF2B5EF4-FFF2-40B4-BE49-F238E27FC236}">
                      <a16:creationId xmlns:a16="http://schemas.microsoft.com/office/drawing/2014/main" xmlns="" id="{59175490-164D-4840-A340-4DB6BAB8237A}"/>
                    </a:ext>
                  </a:extLst>
                </p:cNvPr>
                <p:cNvSpPr/>
                <p:nvPr/>
              </p:nvSpPr>
              <p:spPr>
                <a:xfrm>
                  <a:off x="824948" y="3810770"/>
                  <a:ext cx="614929"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35" name="Rectangle 34">
                  <a:extLst>
                    <a:ext uri="{FF2B5EF4-FFF2-40B4-BE49-F238E27FC236}">
                      <a16:creationId xmlns:a16="http://schemas.microsoft.com/office/drawing/2014/main" xmlns="" id="{7C0CCE68-3419-467D-BC67-76E3A18AE96F}"/>
                    </a:ext>
                  </a:extLst>
                </p:cNvPr>
                <p:cNvSpPr/>
                <p:nvPr/>
              </p:nvSpPr>
              <p:spPr>
                <a:xfrm>
                  <a:off x="1368777" y="3807291"/>
                  <a:ext cx="9091958" cy="44027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Schadensersatzleistungen</a:t>
                  </a:r>
                  <a:endParaRPr lang="de-DE" sz="1600" dirty="0">
                    <a:solidFill>
                      <a:srgbClr val="572381"/>
                    </a:solidFill>
                    <a:latin typeface="Calibri" panose="020F0502020204030204" pitchFamily="34" charset="0"/>
                    <a:cs typeface="Times New Roman" panose="02020603050405020304" pitchFamily="18" charset="0"/>
                  </a:endParaRPr>
                </a:p>
              </p:txBody>
            </p:sp>
          </p:grpSp>
          <p:sp>
            <p:nvSpPr>
              <p:cNvPr id="33" name="Flowchart: Process 32">
                <a:extLst>
                  <a:ext uri="{FF2B5EF4-FFF2-40B4-BE49-F238E27FC236}">
                    <a16:creationId xmlns:a16="http://schemas.microsoft.com/office/drawing/2014/main" xmlns="" id="{BE356148-54A2-448E-AAE4-79B301DC6CCA}"/>
                  </a:ext>
                </a:extLst>
              </p:cNvPr>
              <p:cNvSpPr/>
              <p:nvPr/>
            </p:nvSpPr>
            <p:spPr>
              <a:xfrm>
                <a:off x="1364689" y="5552939"/>
                <a:ext cx="416695" cy="233651"/>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pPr algn="ctr">
                  <a:lnSpc>
                    <a:spcPct val="100000"/>
                  </a:lnSpc>
                </a:pPr>
                <a:r>
                  <a:rPr lang="de-DE" sz="1600" b="1" dirty="0">
                    <a:solidFill>
                      <a:schemeClr val="bg1"/>
                    </a:solidFill>
                    <a:latin typeface="Calibri" panose="020F0502020204030204" pitchFamily="34" charset="0"/>
                    <a:cs typeface="Calibri" panose="020F0502020204030204" pitchFamily="34" charset="0"/>
                  </a:rPr>
                  <a:t>IV</a:t>
                </a:r>
              </a:p>
            </p:txBody>
          </p:sp>
        </p:grpSp>
        <p:sp>
          <p:nvSpPr>
            <p:cNvPr id="52" name="Rectangle: Rounded Corners 51">
              <a:extLst>
                <a:ext uri="{FF2B5EF4-FFF2-40B4-BE49-F238E27FC236}">
                  <a16:creationId xmlns:a16="http://schemas.microsoft.com/office/drawing/2014/main" xmlns="" id="{48761863-2019-4B80-ADC2-2A87371192C9}"/>
                </a:ext>
              </a:extLst>
            </p:cNvPr>
            <p:cNvSpPr/>
            <p:nvPr/>
          </p:nvSpPr>
          <p:spPr>
            <a:xfrm>
              <a:off x="5896266" y="5437660"/>
              <a:ext cx="273674" cy="661470"/>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53" name="Rectangle 52">
              <a:extLst>
                <a:ext uri="{FF2B5EF4-FFF2-40B4-BE49-F238E27FC236}">
                  <a16:creationId xmlns:a16="http://schemas.microsoft.com/office/drawing/2014/main" xmlns="" id="{ABB4241E-0D39-475E-AD11-440B7DD6B01F}"/>
                </a:ext>
              </a:extLst>
            </p:cNvPr>
            <p:cNvSpPr/>
            <p:nvPr/>
          </p:nvSpPr>
          <p:spPr>
            <a:xfrm>
              <a:off x="6142004" y="5437656"/>
              <a:ext cx="4046370" cy="66147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steuerfreie Umsätze</a:t>
              </a:r>
              <a:endParaRPr lang="de-DE" sz="1600" dirty="0">
                <a:solidFill>
                  <a:srgbClr val="572381"/>
                </a:solidFill>
                <a:latin typeface="Calibri" panose="020F0502020204030204" pitchFamily="34" charset="0"/>
                <a:cs typeface="Times New Roman" panose="02020603050405020304" pitchFamily="18" charset="0"/>
              </a:endParaRPr>
            </a:p>
          </p:txBody>
        </p:sp>
      </p:grpSp>
      <p:cxnSp>
        <p:nvCxnSpPr>
          <p:cNvPr id="67" name="Straight Connector 66">
            <a:extLst>
              <a:ext uri="{FF2B5EF4-FFF2-40B4-BE49-F238E27FC236}">
                <a16:creationId xmlns:a16="http://schemas.microsoft.com/office/drawing/2014/main" xmlns="" id="{B9AC96F7-E6A2-4953-B23E-62954DAA402A}"/>
              </a:ext>
            </a:extLst>
          </p:cNvPr>
          <p:cNvCxnSpPr>
            <a:cxnSpLocks/>
            <a:stCxn id="6" idx="3"/>
            <a:endCxn id="52" idx="1"/>
          </p:cNvCxnSpPr>
          <p:nvPr/>
        </p:nvCxnSpPr>
        <p:spPr>
          <a:xfrm>
            <a:off x="5130820" y="3561467"/>
            <a:ext cx="1693368" cy="1887123"/>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sp>
        <p:nvSpPr>
          <p:cNvPr id="39" name="Titel 2"/>
          <p:cNvSpPr>
            <a:spLocks noGrp="1"/>
          </p:cNvSpPr>
          <p:nvPr>
            <p:ph type="title"/>
          </p:nvPr>
        </p:nvSpPr>
        <p:spPr>
          <a:xfrm>
            <a:off x="928886" y="555399"/>
            <a:ext cx="4824536" cy="400110"/>
          </a:xfr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noAutofit/>
          </a:bodyPr>
          <a:lstStyle/>
          <a:p>
            <a:pPr algn="ctr"/>
            <a:r>
              <a:rPr lang="de-DE" sz="2000" dirty="0" smtClean="0">
                <a:solidFill>
                  <a:srgbClr val="572381"/>
                </a:solidFill>
                <a:latin typeface="Calibri" panose="020F0502020204030204" pitchFamily="34" charset="0"/>
                <a:cs typeface="Calibri" panose="020F0502020204030204" pitchFamily="34" charset="0"/>
              </a:rPr>
              <a:t>B</a:t>
            </a:r>
            <a:r>
              <a:rPr lang="de-DE" sz="2000" cap="none" dirty="0" smtClean="0">
                <a:solidFill>
                  <a:srgbClr val="572381"/>
                </a:solidFill>
                <a:latin typeface="Calibri" panose="020F0502020204030204" pitchFamily="34" charset="0"/>
                <a:cs typeface="Calibri" panose="020F0502020204030204" pitchFamily="34" charset="0"/>
              </a:rPr>
              <a:t>egrenzung des Vorsteuerabzugs</a:t>
            </a:r>
            <a:endParaRPr lang="de-DE" sz="2000" dirty="0">
              <a:solidFill>
                <a:srgbClr val="572381"/>
              </a:solidFill>
              <a:latin typeface="Calibri" panose="020F0502020204030204" pitchFamily="34" charset="0"/>
              <a:cs typeface="Calibri" panose="020F0502020204030204" pitchFamily="34" charset="0"/>
            </a:endParaRPr>
          </a:p>
        </p:txBody>
      </p:sp>
      <p:sp>
        <p:nvSpPr>
          <p:cNvPr id="8" name="Foliennummernplatzhalter 7"/>
          <p:cNvSpPr>
            <a:spLocks noGrp="1"/>
          </p:cNvSpPr>
          <p:nvPr>
            <p:ph type="sldNum" sz="quarter" idx="12"/>
          </p:nvPr>
        </p:nvSpPr>
        <p:spPr/>
        <p:txBody>
          <a:bodyPr/>
          <a:lstStyle/>
          <a:p>
            <a:pPr>
              <a:defRPr/>
            </a:pPr>
            <a:fld id="{10C5E703-D0E0-4917-81EE-20874279E3D4}" type="slidenum">
              <a:rPr lang="de-DE" altLang="en-US" smtClean="0"/>
              <a:pPr>
                <a:defRPr/>
              </a:pPr>
              <a:t>39</a:t>
            </a:fld>
            <a:endParaRPr lang="de-DE" altLang="en-US"/>
          </a:p>
        </p:txBody>
      </p:sp>
    </p:spTree>
    <p:extLst>
      <p:ext uri="{BB962C8B-B14F-4D97-AF65-F5344CB8AC3E}">
        <p14:creationId xmlns:p14="http://schemas.microsoft.com/office/powerpoint/2010/main" val="17082618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5326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Tätigkeiten der Rechtsträger</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a:solidFill>
                    <a:schemeClr val="bg1"/>
                  </a:solidFill>
                  <a:latin typeface="Calibri" panose="020F0502020204030204" pitchFamily="34" charset="0"/>
                  <a:cs typeface="Calibri" panose="020F0502020204030204" pitchFamily="34" charset="0"/>
                </a:rPr>
                <a:t>1</a:t>
              </a:r>
            </a:p>
          </p:txBody>
        </p:sp>
      </p:grpSp>
      <p:sp>
        <p:nvSpPr>
          <p:cNvPr id="4" name="Date Placeholder 3">
            <a:extLst>
              <a:ext uri="{FF2B5EF4-FFF2-40B4-BE49-F238E27FC236}">
                <a16:creationId xmlns:a16="http://schemas.microsoft.com/office/drawing/2014/main" xmlns="" id="{4AD3C0E2-9EF0-4A9C-8052-CA4CDD399A33}"/>
              </a:ext>
            </a:extLst>
          </p:cNvPr>
          <p:cNvSpPr>
            <a:spLocks noGrp="1"/>
          </p:cNvSpPr>
          <p:nvPr>
            <p:ph type="dt" sz="half" idx="10"/>
          </p:nvPr>
        </p:nvSpPr>
        <p:spPr/>
        <p:txBody>
          <a:bodyPr/>
          <a:lstStyle/>
          <a:p>
            <a:fld id="{9AE223D9-490C-40D7-92E7-A18C670E053F}" type="datetime1">
              <a:rPr lang="de-DE" smtClean="0"/>
              <a:t>06.07.2021</a:t>
            </a:fld>
            <a:endParaRPr lang="de-DE" dirty="0"/>
          </a:p>
        </p:txBody>
      </p:sp>
      <p:sp>
        <p:nvSpPr>
          <p:cNvPr id="5" name="Footer Placeholder 4">
            <a:extLst>
              <a:ext uri="{FF2B5EF4-FFF2-40B4-BE49-F238E27FC236}">
                <a16:creationId xmlns:a16="http://schemas.microsoft.com/office/drawing/2014/main" xmlns="" id="{3FFAC5ED-EB9D-41CA-9760-93E4937B6595}"/>
              </a:ext>
            </a:extLst>
          </p:cNvPr>
          <p:cNvSpPr>
            <a:spLocks noGrp="1"/>
          </p:cNvSpPr>
          <p:nvPr>
            <p:ph type="ftr" sz="quarter" idx="11"/>
          </p:nvPr>
        </p:nvSpPr>
        <p:spPr/>
        <p:txBody>
          <a:bodyPr/>
          <a:lstStyle/>
          <a:p>
            <a:r>
              <a:rPr lang="de-DE" dirty="0"/>
              <a:t>EKHN</a:t>
            </a:r>
          </a:p>
        </p:txBody>
      </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4</a:t>
            </a:fld>
            <a:endParaRPr lang="de-DE" dirty="0"/>
          </a:p>
        </p:txBody>
      </p:sp>
    </p:spTree>
    <p:extLst>
      <p:ext uri="{BB962C8B-B14F-4D97-AF65-F5344CB8AC3E}">
        <p14:creationId xmlns:p14="http://schemas.microsoft.com/office/powerpoint/2010/main" val="318969414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06945" y="476672"/>
            <a:ext cx="3750333" cy="379140"/>
          </a:xfrm>
        </p:spPr>
        <p:txBody>
          <a:bodyPr/>
          <a:lstStyle/>
          <a:p>
            <a:r>
              <a:rPr lang="de-DE" dirty="0" smtClean="0">
                <a:latin typeface="Calibri" panose="020F0502020204030204" pitchFamily="34" charset="0"/>
                <a:cs typeface="Calibri" panose="020F0502020204030204" pitchFamily="34" charset="0"/>
              </a:rPr>
              <a:t>Versagung der Vorsteuer</a:t>
            </a:r>
            <a:endParaRPr lang="de-D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5" name="Diagramm 4"/>
          <p:cNvGraphicFramePr/>
          <p:nvPr>
            <p:extLst>
              <p:ext uri="{D42A27DB-BD31-4B8C-83A1-F6EECF244321}">
                <p14:modId xmlns:p14="http://schemas.microsoft.com/office/powerpoint/2010/main" val="1493528293"/>
              </p:ext>
            </p:extLst>
          </p:nvPr>
        </p:nvGraphicFramePr>
        <p:xfrm>
          <a:off x="2513062" y="1140805"/>
          <a:ext cx="8151283" cy="5434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Grafik 6" descr="Fichier:Exclamation mark 2.svg — Wikipédia"/>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69446" y="5621011"/>
            <a:ext cx="1395056" cy="917784"/>
          </a:xfrm>
          <a:prstGeom prst="rect">
            <a:avLst/>
          </a:prstGeom>
        </p:spPr>
      </p:pic>
      <p:pic>
        <p:nvPicPr>
          <p:cNvPr id="8" name="Grafik 7" descr="Fichier:Exclamation mark 2.svg — Wikipédia"/>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65790" y="5629205"/>
            <a:ext cx="1395056" cy="917784"/>
          </a:xfrm>
          <a:prstGeom prst="rect">
            <a:avLst/>
          </a:prstGeom>
        </p:spPr>
      </p:pic>
      <p:sp>
        <p:nvSpPr>
          <p:cNvPr id="9" name="Datumsplatzhalter 8"/>
          <p:cNvSpPr>
            <a:spLocks noGrp="1"/>
          </p:cNvSpPr>
          <p:nvPr>
            <p:ph type="dt" sz="half" idx="10"/>
          </p:nvPr>
        </p:nvSpPr>
        <p:spPr/>
        <p:txBody>
          <a:bodyPr/>
          <a:lstStyle/>
          <a:p>
            <a:pPr>
              <a:defRPr/>
            </a:pPr>
            <a:fld id="{DD6040B0-8927-41E1-8614-096C59B87CBB}"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
        <p:nvSpPr>
          <p:cNvPr id="11" name="Foliennummernplatzhalter 10"/>
          <p:cNvSpPr>
            <a:spLocks noGrp="1"/>
          </p:cNvSpPr>
          <p:nvPr>
            <p:ph type="sldNum" sz="quarter" idx="12"/>
          </p:nvPr>
        </p:nvSpPr>
        <p:spPr/>
        <p:txBody>
          <a:bodyPr/>
          <a:lstStyle/>
          <a:p>
            <a:pPr>
              <a:defRPr/>
            </a:pPr>
            <a:fld id="{BEA88772-2E14-493F-A726-E8A7A8CFB7CD}" type="slidenum">
              <a:rPr lang="de-DE" altLang="en-US" smtClean="0"/>
              <a:pPr>
                <a:defRPr/>
              </a:pPr>
              <a:t>40</a:t>
            </a:fld>
            <a:endParaRPr lang="de-DE" altLang="en-US"/>
          </a:p>
        </p:txBody>
      </p:sp>
    </p:spTree>
    <p:extLst>
      <p:ext uri="{BB962C8B-B14F-4D97-AF65-F5344CB8AC3E}">
        <p14:creationId xmlns:p14="http://schemas.microsoft.com/office/powerpoint/2010/main" val="1106778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12862" y="476672"/>
            <a:ext cx="3816424" cy="379140"/>
          </a:xfrm>
        </p:spPr>
        <p:txBody>
          <a:bodyPr/>
          <a:lstStyle/>
          <a:p>
            <a:r>
              <a:rPr lang="de-DE" dirty="0" smtClean="0">
                <a:latin typeface="Calibri" panose="020F0502020204030204" pitchFamily="34" charset="0"/>
                <a:cs typeface="Calibri" panose="020F0502020204030204" pitchFamily="34" charset="0"/>
              </a:rPr>
              <a:t>Beispiel Vorsteuerabzug</a:t>
            </a:r>
            <a:endParaRPr lang="de-DE" dirty="0">
              <a:latin typeface="Calibri" panose="020F0502020204030204" pitchFamily="34" charset="0"/>
              <a:cs typeface="Calibri" panose="020F0502020204030204" pitchFamily="34" charset="0"/>
            </a:endParaRPr>
          </a:p>
        </p:txBody>
      </p:sp>
      <p:grpSp>
        <p:nvGrpSpPr>
          <p:cNvPr id="4" name="Group 10">
            <a:extLst>
              <a:ext uri="{FF2B5EF4-FFF2-40B4-BE49-F238E27FC236}">
                <a16:creationId xmlns:a16="http://schemas.microsoft.com/office/drawing/2014/main" xmlns="" id="{2E54A101-4F39-4969-8587-3EC0CCC8DCCB}"/>
              </a:ext>
            </a:extLst>
          </p:cNvPr>
          <p:cNvGrpSpPr/>
          <p:nvPr/>
        </p:nvGrpSpPr>
        <p:grpSpPr>
          <a:xfrm>
            <a:off x="1336859" y="1050946"/>
            <a:ext cx="9553209" cy="5372714"/>
            <a:chOff x="1941512" y="1977796"/>
            <a:chExt cx="7950201" cy="4668776"/>
          </a:xfrm>
        </p:grpSpPr>
        <p:grpSp>
          <p:nvGrpSpPr>
            <p:cNvPr id="5" name="Group 5">
              <a:extLst>
                <a:ext uri="{FF2B5EF4-FFF2-40B4-BE49-F238E27FC236}">
                  <a16:creationId xmlns:a16="http://schemas.microsoft.com/office/drawing/2014/main" xmlns="" id="{9DBCFA2E-73BF-42C7-AFB3-FF8D1C91B435}"/>
                </a:ext>
              </a:extLst>
            </p:cNvPr>
            <p:cNvGrpSpPr/>
            <p:nvPr/>
          </p:nvGrpSpPr>
          <p:grpSpPr>
            <a:xfrm>
              <a:off x="1941512" y="1977796"/>
              <a:ext cx="7950201" cy="4668776"/>
              <a:chOff x="2128665" y="1799784"/>
              <a:chExt cx="7950201" cy="4668776"/>
            </a:xfrm>
          </p:grpSpPr>
          <p:sp>
            <p:nvSpPr>
              <p:cNvPr id="8" name="Content Placeholder 6">
                <a:extLst>
                  <a:ext uri="{FF2B5EF4-FFF2-40B4-BE49-F238E27FC236}">
                    <a16:creationId xmlns:a16="http://schemas.microsoft.com/office/drawing/2014/main" xmlns="" id="{360D0BF0-82B9-4621-83D0-018868ACB0FF}"/>
                  </a:ext>
                </a:extLst>
              </p:cNvPr>
              <p:cNvSpPr txBox="1">
                <a:spLocks/>
              </p:cNvSpPr>
              <p:nvPr/>
            </p:nvSpPr>
            <p:spPr>
              <a:xfrm>
                <a:off x="2551463" y="1799784"/>
                <a:ext cx="7117569"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a:p>
                <a:pPr>
                  <a:spcAft>
                    <a:spcPts val="600"/>
                  </a:spcAft>
                </a:pPr>
                <a:r>
                  <a:rPr lang="de-DE" sz="1600" dirty="0">
                    <a:solidFill>
                      <a:schemeClr val="tx1"/>
                    </a:solidFill>
                  </a:rPr>
                  <a:t/>
                </a:r>
                <a:br>
                  <a:rPr lang="de-DE" sz="1600" dirty="0">
                    <a:solidFill>
                      <a:schemeClr val="tx1"/>
                    </a:solidFill>
                  </a:rPr>
                </a:br>
                <a:r>
                  <a:rPr lang="de-DE" u="sng" dirty="0">
                    <a:solidFill>
                      <a:srgbClr val="572381"/>
                    </a:solidFill>
                    <a:latin typeface="Arial Unicode MS" panose="020B0604020202020204" pitchFamily="34" charset="-128"/>
                    <a:cs typeface="+mn-cs"/>
                  </a:rPr>
                  <a:t>Beispiel</a:t>
                </a:r>
                <a:r>
                  <a:rPr lang="de-DE" u="sng" dirty="0" smtClean="0">
                    <a:solidFill>
                      <a:schemeClr val="tx1">
                        <a:lumMod val="75000"/>
                        <a:lumOff val="25000"/>
                      </a:schemeClr>
                    </a:solidFill>
                  </a:rPr>
                  <a:t>:</a:t>
                </a:r>
                <a:endParaRPr lang="de-DE" u="sng" dirty="0">
                  <a:solidFill>
                    <a:schemeClr val="tx1">
                      <a:lumMod val="75000"/>
                      <a:lumOff val="25000"/>
                    </a:schemeClr>
                  </a:solidFill>
                </a:endParaRPr>
              </a:p>
              <a:p>
                <a:r>
                  <a:rPr lang="de-DE" b="0" dirty="0">
                    <a:solidFill>
                      <a:srgbClr val="572381"/>
                    </a:solidFill>
                  </a:rPr>
                  <a:t>Ein Unternehmer berechnet auf ein Entgelt </a:t>
                </a:r>
                <a:r>
                  <a:rPr lang="de-DE" b="0" dirty="0" err="1">
                    <a:solidFill>
                      <a:srgbClr val="572381"/>
                    </a:solidFill>
                  </a:rPr>
                  <a:t>i.H.v</a:t>
                </a:r>
                <a:r>
                  <a:rPr lang="de-DE" b="0" dirty="0">
                    <a:solidFill>
                      <a:srgbClr val="572381"/>
                    </a:solidFill>
                  </a:rPr>
                  <a:t>. 100 € eine Steuer von 19 € (19%), obwohl hierfür 7 % Steuer geschuldet wird. </a:t>
                </a:r>
              </a:p>
              <a:p>
                <a:r>
                  <a:rPr lang="de-DE" b="0" dirty="0">
                    <a:solidFill>
                      <a:srgbClr val="572381"/>
                    </a:solidFill>
                  </a:rPr>
                  <a:t>Der Leistungsempfänger darf von dem Bruttobetrag </a:t>
                </a:r>
                <a:r>
                  <a:rPr lang="de-DE" b="0" dirty="0" err="1">
                    <a:solidFill>
                      <a:srgbClr val="572381"/>
                    </a:solidFill>
                  </a:rPr>
                  <a:t>i.H.v</a:t>
                </a:r>
                <a:r>
                  <a:rPr lang="de-DE" b="0" dirty="0">
                    <a:solidFill>
                      <a:srgbClr val="572381"/>
                    </a:solidFill>
                  </a:rPr>
                  <a:t>. 119 € nur 7% Vorsteuer abziehen (119 € * 7/107 = 7,79 € Vorsteuerabzug) Leistungen von einem anderen Unternehmen ausgeführt worden sind. Die Leistung muss von einem anderen Unternehmen in Rechnung gestellt werden. Wird die Steuer von einem Nichtunternehmer in Rechnung gestellt, kann der Leistungsempfänger die Vorsteuer nicht zum Abzug bringen.</a:t>
                </a:r>
              </a:p>
              <a:p>
                <a:pPr>
                  <a:spcAft>
                    <a:spcPts val="600"/>
                  </a:spcAft>
                </a:pPr>
                <a:r>
                  <a:rPr lang="de-DE" b="0" i="1" dirty="0">
                    <a:solidFill>
                      <a:schemeClr val="tx1">
                        <a:lumMod val="75000"/>
                        <a:lumOff val="25000"/>
                      </a:schemeClr>
                    </a:solidFill>
                  </a:rPr>
                  <a:t/>
                </a:r>
                <a:br>
                  <a:rPr lang="de-DE" b="0" i="1" dirty="0">
                    <a:solidFill>
                      <a:schemeClr val="tx1">
                        <a:lumMod val="75000"/>
                        <a:lumOff val="25000"/>
                      </a:schemeClr>
                    </a:solidFill>
                  </a:rPr>
                </a:br>
                <a:endParaRPr lang="de-DE" b="0" i="1" dirty="0">
                  <a:solidFill>
                    <a:schemeClr val="tx1">
                      <a:lumMod val="75000"/>
                      <a:lumOff val="25000"/>
                    </a:schemeClr>
                  </a:solidFill>
                </a:endParaRPr>
              </a:p>
            </p:txBody>
          </p:sp>
          <p:grpSp>
            <p:nvGrpSpPr>
              <p:cNvPr id="9" name="Group 2">
                <a:extLst>
                  <a:ext uri="{FF2B5EF4-FFF2-40B4-BE49-F238E27FC236}">
                    <a16:creationId xmlns:a16="http://schemas.microsoft.com/office/drawing/2014/main" xmlns="" id="{F7F716F5-6996-493F-B7BC-DD0A533DD6E4}"/>
                  </a:ext>
                </a:extLst>
              </p:cNvPr>
              <p:cNvGrpSpPr/>
              <p:nvPr/>
            </p:nvGrpSpPr>
            <p:grpSpPr>
              <a:xfrm>
                <a:off x="2128665" y="2371455"/>
                <a:ext cx="7950201" cy="3671609"/>
                <a:chOff x="2128665" y="2371455"/>
                <a:chExt cx="7950201" cy="3671609"/>
              </a:xfrm>
            </p:grpSpPr>
            <p:grpSp>
              <p:nvGrpSpPr>
                <p:cNvPr id="10" name="Group 1">
                  <a:extLst>
                    <a:ext uri="{FF2B5EF4-FFF2-40B4-BE49-F238E27FC236}">
                      <a16:creationId xmlns:a16="http://schemas.microsoft.com/office/drawing/2014/main" xmlns="" id="{319187B1-4131-42DA-ACA1-DC136D5F0AAE}"/>
                    </a:ext>
                  </a:extLst>
                </p:cNvPr>
                <p:cNvGrpSpPr/>
                <p:nvPr/>
              </p:nvGrpSpPr>
              <p:grpSpPr>
                <a:xfrm>
                  <a:off x="2128665" y="2371455"/>
                  <a:ext cx="7950201" cy="3671609"/>
                  <a:chOff x="1963820" y="1974441"/>
                  <a:chExt cx="7950201" cy="4228026"/>
                </a:xfrm>
              </p:grpSpPr>
              <p:sp>
                <p:nvSpPr>
                  <p:cNvPr id="12" name="Rectangle 18">
                    <a:extLst>
                      <a:ext uri="{FF2B5EF4-FFF2-40B4-BE49-F238E27FC236}">
                        <a16:creationId xmlns:a16="http://schemas.microsoft.com/office/drawing/2014/main" xmlns="" id="{A0407787-D308-481C-BA84-4558324D1569}"/>
                      </a:ext>
                    </a:extLst>
                  </p:cNvPr>
                  <p:cNvSpPr/>
                  <p:nvPr/>
                </p:nvSpPr>
                <p:spPr>
                  <a:xfrm>
                    <a:off x="1963820" y="2330596"/>
                    <a:ext cx="7950201" cy="3871871"/>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13"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Vorsteuerabzug</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11" name="Freeform 133">
                  <a:extLst>
                    <a:ext uri="{FF2B5EF4-FFF2-40B4-BE49-F238E27FC236}">
                      <a16:creationId xmlns:a16="http://schemas.microsoft.com/office/drawing/2014/main" xmlns="" id="{6BC0B30F-92DD-41E5-A54C-19F4C86DDF08}"/>
                    </a:ext>
                  </a:extLst>
                </p:cNvPr>
                <p:cNvSpPr>
                  <a:spLocks noEditPoints="1"/>
                </p:cNvSpPr>
                <p:nvPr/>
              </p:nvSpPr>
              <p:spPr bwMode="auto">
                <a:xfrm>
                  <a:off x="9201657" y="3037424"/>
                  <a:ext cx="425133" cy="264375"/>
                </a:xfrm>
                <a:custGeom>
                  <a:avLst/>
                  <a:gdLst>
                    <a:gd name="T0" fmla="*/ 2598 w 2668"/>
                    <a:gd name="T1" fmla="*/ 1310 h 1814"/>
                    <a:gd name="T2" fmla="*/ 2638 w 2668"/>
                    <a:gd name="T3" fmla="*/ 1298 h 1814"/>
                    <a:gd name="T4" fmla="*/ 2666 w 2668"/>
                    <a:gd name="T5" fmla="*/ 1254 h 1814"/>
                    <a:gd name="T6" fmla="*/ 2662 w 2668"/>
                    <a:gd name="T7" fmla="*/ 1212 h 1814"/>
                    <a:gd name="T8" fmla="*/ 2482 w 2668"/>
                    <a:gd name="T9" fmla="*/ 986 h 1814"/>
                    <a:gd name="T10" fmla="*/ 2428 w 2668"/>
                    <a:gd name="T11" fmla="*/ 960 h 1814"/>
                    <a:gd name="T12" fmla="*/ 2456 w 2668"/>
                    <a:gd name="T13" fmla="*/ 562 h 1814"/>
                    <a:gd name="T14" fmla="*/ 2456 w 2668"/>
                    <a:gd name="T15" fmla="*/ 178 h 1814"/>
                    <a:gd name="T16" fmla="*/ 2254 w 2668"/>
                    <a:gd name="T17" fmla="*/ 54 h 1814"/>
                    <a:gd name="T18" fmla="*/ 2224 w 2668"/>
                    <a:gd name="T19" fmla="*/ 10 h 1814"/>
                    <a:gd name="T20" fmla="*/ 2186 w 2668"/>
                    <a:gd name="T21" fmla="*/ 0 h 1814"/>
                    <a:gd name="T22" fmla="*/ 2138 w 2668"/>
                    <a:gd name="T23" fmla="*/ 20 h 1814"/>
                    <a:gd name="T24" fmla="*/ 2118 w 2668"/>
                    <a:gd name="T25" fmla="*/ 68 h 1814"/>
                    <a:gd name="T26" fmla="*/ 550 w 2668"/>
                    <a:gd name="T27" fmla="*/ 68 h 1814"/>
                    <a:gd name="T28" fmla="*/ 528 w 2668"/>
                    <a:gd name="T29" fmla="*/ 20 h 1814"/>
                    <a:gd name="T30" fmla="*/ 480 w 2668"/>
                    <a:gd name="T31" fmla="*/ 0 h 1814"/>
                    <a:gd name="T32" fmla="*/ 442 w 2668"/>
                    <a:gd name="T33" fmla="*/ 10 h 1814"/>
                    <a:gd name="T34" fmla="*/ 414 w 2668"/>
                    <a:gd name="T35" fmla="*/ 54 h 1814"/>
                    <a:gd name="T36" fmla="*/ 210 w 2668"/>
                    <a:gd name="T37" fmla="*/ 424 h 1814"/>
                    <a:gd name="T38" fmla="*/ 210 w 2668"/>
                    <a:gd name="T39" fmla="*/ 808 h 1814"/>
                    <a:gd name="T40" fmla="*/ 282 w 2668"/>
                    <a:gd name="T41" fmla="*/ 960 h 1814"/>
                    <a:gd name="T42" fmla="*/ 234 w 2668"/>
                    <a:gd name="T43" fmla="*/ 980 h 1814"/>
                    <a:gd name="T44" fmla="*/ 8 w 2668"/>
                    <a:gd name="T45" fmla="*/ 1208 h 1814"/>
                    <a:gd name="T46" fmla="*/ 0 w 2668"/>
                    <a:gd name="T47" fmla="*/ 1246 h 1814"/>
                    <a:gd name="T48" fmla="*/ 10 w 2668"/>
                    <a:gd name="T49" fmla="*/ 1276 h 1814"/>
                    <a:gd name="T50" fmla="*/ 38 w 2668"/>
                    <a:gd name="T51" fmla="*/ 1302 h 1814"/>
                    <a:gd name="T52" fmla="*/ 68 w 2668"/>
                    <a:gd name="T53" fmla="*/ 1310 h 1814"/>
                    <a:gd name="T54" fmla="*/ 2118 w 2668"/>
                    <a:gd name="T55" fmla="*/ 960 h 1814"/>
                    <a:gd name="T56" fmla="*/ 550 w 2668"/>
                    <a:gd name="T57" fmla="*/ 562 h 1814"/>
                    <a:gd name="T58" fmla="*/ 2666 w 2668"/>
                    <a:gd name="T59" fmla="*/ 1456 h 1814"/>
                    <a:gd name="T60" fmla="*/ 2646 w 2668"/>
                    <a:gd name="T61" fmla="*/ 1504 h 1814"/>
                    <a:gd name="T62" fmla="*/ 2598 w 2668"/>
                    <a:gd name="T63" fmla="*/ 1524 h 1814"/>
                    <a:gd name="T64" fmla="*/ 2402 w 2668"/>
                    <a:gd name="T65" fmla="*/ 1760 h 1814"/>
                    <a:gd name="T66" fmla="*/ 2374 w 2668"/>
                    <a:gd name="T67" fmla="*/ 1802 h 1814"/>
                    <a:gd name="T68" fmla="*/ 2186 w 2668"/>
                    <a:gd name="T69" fmla="*/ 1814 h 1814"/>
                    <a:gd name="T70" fmla="*/ 2148 w 2668"/>
                    <a:gd name="T71" fmla="*/ 1802 h 1814"/>
                    <a:gd name="T72" fmla="*/ 2118 w 2668"/>
                    <a:gd name="T73" fmla="*/ 1760 h 1814"/>
                    <a:gd name="T74" fmla="*/ 550 w 2668"/>
                    <a:gd name="T75" fmla="*/ 1746 h 1814"/>
                    <a:gd name="T76" fmla="*/ 538 w 2668"/>
                    <a:gd name="T77" fmla="*/ 1784 h 1814"/>
                    <a:gd name="T78" fmla="*/ 494 w 2668"/>
                    <a:gd name="T79" fmla="*/ 1812 h 1814"/>
                    <a:gd name="T80" fmla="*/ 318 w 2668"/>
                    <a:gd name="T81" fmla="*/ 1812 h 1814"/>
                    <a:gd name="T82" fmla="*/ 274 w 2668"/>
                    <a:gd name="T83" fmla="*/ 1784 h 1814"/>
                    <a:gd name="T84" fmla="*/ 262 w 2668"/>
                    <a:gd name="T85" fmla="*/ 1524 h 1814"/>
                    <a:gd name="T86" fmla="*/ 42 w 2668"/>
                    <a:gd name="T87" fmla="*/ 1520 h 1814"/>
                    <a:gd name="T88" fmla="*/ 6 w 2668"/>
                    <a:gd name="T89" fmla="*/ 1482 h 1814"/>
                    <a:gd name="T90" fmla="*/ 2 w 2668"/>
                    <a:gd name="T91" fmla="*/ 1442 h 1814"/>
                    <a:gd name="T92" fmla="*/ 30 w 2668"/>
                    <a:gd name="T93" fmla="*/ 1398 h 1814"/>
                    <a:gd name="T94" fmla="*/ 332 w 2668"/>
                    <a:gd name="T95" fmla="*/ 1388 h 1814"/>
                    <a:gd name="T96" fmla="*/ 2598 w 2668"/>
                    <a:gd name="T97" fmla="*/ 1388 h 1814"/>
                    <a:gd name="T98" fmla="*/ 2636 w 2668"/>
                    <a:gd name="T99" fmla="*/ 1398 h 1814"/>
                    <a:gd name="T100" fmla="*/ 2666 w 2668"/>
                    <a:gd name="T101" fmla="*/ 1442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8" h="1814">
                      <a:moveTo>
                        <a:pt x="68" y="1310"/>
                      </a:moveTo>
                      <a:lnTo>
                        <a:pt x="2598" y="1310"/>
                      </a:lnTo>
                      <a:lnTo>
                        <a:pt x="2598" y="1310"/>
                      </a:lnTo>
                      <a:lnTo>
                        <a:pt x="2598" y="1310"/>
                      </a:lnTo>
                      <a:lnTo>
                        <a:pt x="2598" y="1310"/>
                      </a:lnTo>
                      <a:lnTo>
                        <a:pt x="2612" y="1308"/>
                      </a:lnTo>
                      <a:lnTo>
                        <a:pt x="2626" y="1304"/>
                      </a:lnTo>
                      <a:lnTo>
                        <a:pt x="2638" y="1298"/>
                      </a:lnTo>
                      <a:lnTo>
                        <a:pt x="2648" y="1290"/>
                      </a:lnTo>
                      <a:lnTo>
                        <a:pt x="2656" y="1278"/>
                      </a:lnTo>
                      <a:lnTo>
                        <a:pt x="2662" y="1268"/>
                      </a:lnTo>
                      <a:lnTo>
                        <a:pt x="2666" y="1254"/>
                      </a:lnTo>
                      <a:lnTo>
                        <a:pt x="2668" y="1240"/>
                      </a:lnTo>
                      <a:lnTo>
                        <a:pt x="2668" y="1240"/>
                      </a:lnTo>
                      <a:lnTo>
                        <a:pt x="2666" y="1226"/>
                      </a:lnTo>
                      <a:lnTo>
                        <a:pt x="2662" y="1212"/>
                      </a:lnTo>
                      <a:lnTo>
                        <a:pt x="2654" y="1200"/>
                      </a:lnTo>
                      <a:lnTo>
                        <a:pt x="2646" y="1190"/>
                      </a:lnTo>
                      <a:lnTo>
                        <a:pt x="2482" y="986"/>
                      </a:lnTo>
                      <a:lnTo>
                        <a:pt x="2482" y="986"/>
                      </a:lnTo>
                      <a:lnTo>
                        <a:pt x="2470" y="976"/>
                      </a:lnTo>
                      <a:lnTo>
                        <a:pt x="2458" y="968"/>
                      </a:lnTo>
                      <a:lnTo>
                        <a:pt x="2444" y="962"/>
                      </a:lnTo>
                      <a:lnTo>
                        <a:pt x="2428" y="960"/>
                      </a:lnTo>
                      <a:lnTo>
                        <a:pt x="2254" y="960"/>
                      </a:lnTo>
                      <a:lnTo>
                        <a:pt x="2254" y="808"/>
                      </a:lnTo>
                      <a:lnTo>
                        <a:pt x="2456" y="808"/>
                      </a:lnTo>
                      <a:lnTo>
                        <a:pt x="2456" y="562"/>
                      </a:lnTo>
                      <a:lnTo>
                        <a:pt x="2254" y="562"/>
                      </a:lnTo>
                      <a:lnTo>
                        <a:pt x="2254" y="424"/>
                      </a:lnTo>
                      <a:lnTo>
                        <a:pt x="2456" y="424"/>
                      </a:lnTo>
                      <a:lnTo>
                        <a:pt x="2456" y="178"/>
                      </a:lnTo>
                      <a:lnTo>
                        <a:pt x="2254" y="178"/>
                      </a:lnTo>
                      <a:lnTo>
                        <a:pt x="2254" y="68"/>
                      </a:lnTo>
                      <a:lnTo>
                        <a:pt x="2254" y="68"/>
                      </a:lnTo>
                      <a:lnTo>
                        <a:pt x="2254" y="54"/>
                      </a:lnTo>
                      <a:lnTo>
                        <a:pt x="2250" y="42"/>
                      </a:lnTo>
                      <a:lnTo>
                        <a:pt x="2244" y="30"/>
                      </a:lnTo>
                      <a:lnTo>
                        <a:pt x="2234" y="20"/>
                      </a:lnTo>
                      <a:lnTo>
                        <a:pt x="2224" y="10"/>
                      </a:lnTo>
                      <a:lnTo>
                        <a:pt x="2212" y="4"/>
                      </a:lnTo>
                      <a:lnTo>
                        <a:pt x="2200" y="0"/>
                      </a:lnTo>
                      <a:lnTo>
                        <a:pt x="2186" y="0"/>
                      </a:lnTo>
                      <a:lnTo>
                        <a:pt x="2186" y="0"/>
                      </a:lnTo>
                      <a:lnTo>
                        <a:pt x="2172" y="0"/>
                      </a:lnTo>
                      <a:lnTo>
                        <a:pt x="2160" y="4"/>
                      </a:lnTo>
                      <a:lnTo>
                        <a:pt x="2148" y="10"/>
                      </a:lnTo>
                      <a:lnTo>
                        <a:pt x="2138" y="20"/>
                      </a:lnTo>
                      <a:lnTo>
                        <a:pt x="2130" y="30"/>
                      </a:lnTo>
                      <a:lnTo>
                        <a:pt x="2122" y="42"/>
                      </a:lnTo>
                      <a:lnTo>
                        <a:pt x="2118" y="54"/>
                      </a:lnTo>
                      <a:lnTo>
                        <a:pt x="2118" y="68"/>
                      </a:lnTo>
                      <a:lnTo>
                        <a:pt x="2118" y="178"/>
                      </a:lnTo>
                      <a:lnTo>
                        <a:pt x="550" y="178"/>
                      </a:lnTo>
                      <a:lnTo>
                        <a:pt x="550" y="68"/>
                      </a:lnTo>
                      <a:lnTo>
                        <a:pt x="550" y="68"/>
                      </a:lnTo>
                      <a:lnTo>
                        <a:pt x="548" y="54"/>
                      </a:lnTo>
                      <a:lnTo>
                        <a:pt x="544" y="42"/>
                      </a:lnTo>
                      <a:lnTo>
                        <a:pt x="538" y="30"/>
                      </a:lnTo>
                      <a:lnTo>
                        <a:pt x="528" y="20"/>
                      </a:lnTo>
                      <a:lnTo>
                        <a:pt x="518" y="10"/>
                      </a:lnTo>
                      <a:lnTo>
                        <a:pt x="508" y="4"/>
                      </a:lnTo>
                      <a:lnTo>
                        <a:pt x="494" y="0"/>
                      </a:lnTo>
                      <a:lnTo>
                        <a:pt x="480" y="0"/>
                      </a:lnTo>
                      <a:lnTo>
                        <a:pt x="480" y="0"/>
                      </a:lnTo>
                      <a:lnTo>
                        <a:pt x="466" y="0"/>
                      </a:lnTo>
                      <a:lnTo>
                        <a:pt x="454" y="4"/>
                      </a:lnTo>
                      <a:lnTo>
                        <a:pt x="442" y="10"/>
                      </a:lnTo>
                      <a:lnTo>
                        <a:pt x="432" y="20"/>
                      </a:lnTo>
                      <a:lnTo>
                        <a:pt x="424" y="30"/>
                      </a:lnTo>
                      <a:lnTo>
                        <a:pt x="418" y="42"/>
                      </a:lnTo>
                      <a:lnTo>
                        <a:pt x="414" y="54"/>
                      </a:lnTo>
                      <a:lnTo>
                        <a:pt x="412" y="68"/>
                      </a:lnTo>
                      <a:lnTo>
                        <a:pt x="412" y="178"/>
                      </a:lnTo>
                      <a:lnTo>
                        <a:pt x="210" y="178"/>
                      </a:lnTo>
                      <a:lnTo>
                        <a:pt x="210" y="424"/>
                      </a:lnTo>
                      <a:lnTo>
                        <a:pt x="412" y="424"/>
                      </a:lnTo>
                      <a:lnTo>
                        <a:pt x="412" y="562"/>
                      </a:lnTo>
                      <a:lnTo>
                        <a:pt x="210" y="562"/>
                      </a:lnTo>
                      <a:lnTo>
                        <a:pt x="210" y="808"/>
                      </a:lnTo>
                      <a:lnTo>
                        <a:pt x="412" y="808"/>
                      </a:lnTo>
                      <a:lnTo>
                        <a:pt x="412" y="960"/>
                      </a:lnTo>
                      <a:lnTo>
                        <a:pt x="282" y="960"/>
                      </a:lnTo>
                      <a:lnTo>
                        <a:pt x="282" y="960"/>
                      </a:lnTo>
                      <a:lnTo>
                        <a:pt x="270" y="962"/>
                      </a:lnTo>
                      <a:lnTo>
                        <a:pt x="256" y="966"/>
                      </a:lnTo>
                      <a:lnTo>
                        <a:pt x="246" y="972"/>
                      </a:lnTo>
                      <a:lnTo>
                        <a:pt x="234" y="980"/>
                      </a:lnTo>
                      <a:lnTo>
                        <a:pt x="20" y="1192"/>
                      </a:lnTo>
                      <a:lnTo>
                        <a:pt x="20" y="1192"/>
                      </a:lnTo>
                      <a:lnTo>
                        <a:pt x="14" y="1200"/>
                      </a:lnTo>
                      <a:lnTo>
                        <a:pt x="8" y="1208"/>
                      </a:lnTo>
                      <a:lnTo>
                        <a:pt x="4" y="1216"/>
                      </a:lnTo>
                      <a:lnTo>
                        <a:pt x="2" y="1226"/>
                      </a:lnTo>
                      <a:lnTo>
                        <a:pt x="0" y="1236"/>
                      </a:lnTo>
                      <a:lnTo>
                        <a:pt x="0" y="1246"/>
                      </a:lnTo>
                      <a:lnTo>
                        <a:pt x="2" y="1256"/>
                      </a:lnTo>
                      <a:lnTo>
                        <a:pt x="4" y="1266"/>
                      </a:lnTo>
                      <a:lnTo>
                        <a:pt x="4" y="1266"/>
                      </a:lnTo>
                      <a:lnTo>
                        <a:pt x="10" y="1276"/>
                      </a:lnTo>
                      <a:lnTo>
                        <a:pt x="16" y="1284"/>
                      </a:lnTo>
                      <a:lnTo>
                        <a:pt x="22" y="1292"/>
                      </a:lnTo>
                      <a:lnTo>
                        <a:pt x="30" y="1298"/>
                      </a:lnTo>
                      <a:lnTo>
                        <a:pt x="38" y="1302"/>
                      </a:lnTo>
                      <a:lnTo>
                        <a:pt x="48" y="1306"/>
                      </a:lnTo>
                      <a:lnTo>
                        <a:pt x="58" y="1308"/>
                      </a:lnTo>
                      <a:lnTo>
                        <a:pt x="68" y="1310"/>
                      </a:lnTo>
                      <a:lnTo>
                        <a:pt x="68" y="1310"/>
                      </a:lnTo>
                      <a:close/>
                      <a:moveTo>
                        <a:pt x="550" y="960"/>
                      </a:moveTo>
                      <a:lnTo>
                        <a:pt x="550" y="808"/>
                      </a:lnTo>
                      <a:lnTo>
                        <a:pt x="2118" y="808"/>
                      </a:lnTo>
                      <a:lnTo>
                        <a:pt x="2118" y="960"/>
                      </a:lnTo>
                      <a:lnTo>
                        <a:pt x="550" y="960"/>
                      </a:lnTo>
                      <a:close/>
                      <a:moveTo>
                        <a:pt x="2118" y="424"/>
                      </a:moveTo>
                      <a:lnTo>
                        <a:pt x="2118" y="562"/>
                      </a:lnTo>
                      <a:lnTo>
                        <a:pt x="550" y="562"/>
                      </a:lnTo>
                      <a:lnTo>
                        <a:pt x="550" y="424"/>
                      </a:lnTo>
                      <a:lnTo>
                        <a:pt x="2118" y="424"/>
                      </a:lnTo>
                      <a:close/>
                      <a:moveTo>
                        <a:pt x="2666" y="1456"/>
                      </a:moveTo>
                      <a:lnTo>
                        <a:pt x="2666" y="1456"/>
                      </a:lnTo>
                      <a:lnTo>
                        <a:pt x="2666" y="1470"/>
                      </a:lnTo>
                      <a:lnTo>
                        <a:pt x="2662" y="1482"/>
                      </a:lnTo>
                      <a:lnTo>
                        <a:pt x="2654" y="1494"/>
                      </a:lnTo>
                      <a:lnTo>
                        <a:pt x="2646" y="1504"/>
                      </a:lnTo>
                      <a:lnTo>
                        <a:pt x="2636" y="1512"/>
                      </a:lnTo>
                      <a:lnTo>
                        <a:pt x="2624" y="1520"/>
                      </a:lnTo>
                      <a:lnTo>
                        <a:pt x="2612" y="1524"/>
                      </a:lnTo>
                      <a:lnTo>
                        <a:pt x="2598" y="1524"/>
                      </a:lnTo>
                      <a:lnTo>
                        <a:pt x="2404" y="1524"/>
                      </a:lnTo>
                      <a:lnTo>
                        <a:pt x="2404" y="1746"/>
                      </a:lnTo>
                      <a:lnTo>
                        <a:pt x="2404" y="1746"/>
                      </a:lnTo>
                      <a:lnTo>
                        <a:pt x="2402" y="1760"/>
                      </a:lnTo>
                      <a:lnTo>
                        <a:pt x="2398" y="1772"/>
                      </a:lnTo>
                      <a:lnTo>
                        <a:pt x="2392" y="1784"/>
                      </a:lnTo>
                      <a:lnTo>
                        <a:pt x="2384" y="1794"/>
                      </a:lnTo>
                      <a:lnTo>
                        <a:pt x="2374" y="1802"/>
                      </a:lnTo>
                      <a:lnTo>
                        <a:pt x="2362" y="1808"/>
                      </a:lnTo>
                      <a:lnTo>
                        <a:pt x="2350" y="1812"/>
                      </a:lnTo>
                      <a:lnTo>
                        <a:pt x="2336" y="1814"/>
                      </a:lnTo>
                      <a:lnTo>
                        <a:pt x="2186" y="1814"/>
                      </a:lnTo>
                      <a:lnTo>
                        <a:pt x="2186" y="1814"/>
                      </a:lnTo>
                      <a:lnTo>
                        <a:pt x="2172" y="1812"/>
                      </a:lnTo>
                      <a:lnTo>
                        <a:pt x="2160" y="1808"/>
                      </a:lnTo>
                      <a:lnTo>
                        <a:pt x="2148" y="1802"/>
                      </a:lnTo>
                      <a:lnTo>
                        <a:pt x="2138" y="1794"/>
                      </a:lnTo>
                      <a:lnTo>
                        <a:pt x="2130" y="1784"/>
                      </a:lnTo>
                      <a:lnTo>
                        <a:pt x="2122" y="1772"/>
                      </a:lnTo>
                      <a:lnTo>
                        <a:pt x="2118" y="1760"/>
                      </a:lnTo>
                      <a:lnTo>
                        <a:pt x="2118" y="1746"/>
                      </a:lnTo>
                      <a:lnTo>
                        <a:pt x="2118" y="1524"/>
                      </a:lnTo>
                      <a:lnTo>
                        <a:pt x="550" y="1524"/>
                      </a:lnTo>
                      <a:lnTo>
                        <a:pt x="550" y="1746"/>
                      </a:lnTo>
                      <a:lnTo>
                        <a:pt x="550" y="1746"/>
                      </a:lnTo>
                      <a:lnTo>
                        <a:pt x="548" y="1760"/>
                      </a:lnTo>
                      <a:lnTo>
                        <a:pt x="544" y="1772"/>
                      </a:lnTo>
                      <a:lnTo>
                        <a:pt x="538" y="1784"/>
                      </a:lnTo>
                      <a:lnTo>
                        <a:pt x="528" y="1794"/>
                      </a:lnTo>
                      <a:lnTo>
                        <a:pt x="518" y="1802"/>
                      </a:lnTo>
                      <a:lnTo>
                        <a:pt x="508" y="1808"/>
                      </a:lnTo>
                      <a:lnTo>
                        <a:pt x="494" y="1812"/>
                      </a:lnTo>
                      <a:lnTo>
                        <a:pt x="480" y="1814"/>
                      </a:lnTo>
                      <a:lnTo>
                        <a:pt x="332" y="1814"/>
                      </a:lnTo>
                      <a:lnTo>
                        <a:pt x="332" y="1814"/>
                      </a:lnTo>
                      <a:lnTo>
                        <a:pt x="318" y="1812"/>
                      </a:lnTo>
                      <a:lnTo>
                        <a:pt x="304" y="1808"/>
                      </a:lnTo>
                      <a:lnTo>
                        <a:pt x="292" y="1802"/>
                      </a:lnTo>
                      <a:lnTo>
                        <a:pt x="282" y="1794"/>
                      </a:lnTo>
                      <a:lnTo>
                        <a:pt x="274" y="1784"/>
                      </a:lnTo>
                      <a:lnTo>
                        <a:pt x="268" y="1772"/>
                      </a:lnTo>
                      <a:lnTo>
                        <a:pt x="264" y="1760"/>
                      </a:lnTo>
                      <a:lnTo>
                        <a:pt x="262" y="1746"/>
                      </a:lnTo>
                      <a:lnTo>
                        <a:pt x="262" y="1524"/>
                      </a:lnTo>
                      <a:lnTo>
                        <a:pt x="68" y="1524"/>
                      </a:lnTo>
                      <a:lnTo>
                        <a:pt x="68" y="1524"/>
                      </a:lnTo>
                      <a:lnTo>
                        <a:pt x="54" y="1524"/>
                      </a:lnTo>
                      <a:lnTo>
                        <a:pt x="42" y="1520"/>
                      </a:lnTo>
                      <a:lnTo>
                        <a:pt x="30" y="1512"/>
                      </a:lnTo>
                      <a:lnTo>
                        <a:pt x="20" y="1504"/>
                      </a:lnTo>
                      <a:lnTo>
                        <a:pt x="12" y="1494"/>
                      </a:lnTo>
                      <a:lnTo>
                        <a:pt x="6" y="1482"/>
                      </a:lnTo>
                      <a:lnTo>
                        <a:pt x="2" y="1470"/>
                      </a:lnTo>
                      <a:lnTo>
                        <a:pt x="0" y="1456"/>
                      </a:lnTo>
                      <a:lnTo>
                        <a:pt x="0" y="1456"/>
                      </a:lnTo>
                      <a:lnTo>
                        <a:pt x="2" y="1442"/>
                      </a:lnTo>
                      <a:lnTo>
                        <a:pt x="6" y="1430"/>
                      </a:lnTo>
                      <a:lnTo>
                        <a:pt x="12" y="1418"/>
                      </a:lnTo>
                      <a:lnTo>
                        <a:pt x="20" y="1408"/>
                      </a:lnTo>
                      <a:lnTo>
                        <a:pt x="30" y="1398"/>
                      </a:lnTo>
                      <a:lnTo>
                        <a:pt x="42" y="1392"/>
                      </a:lnTo>
                      <a:lnTo>
                        <a:pt x="54" y="1388"/>
                      </a:lnTo>
                      <a:lnTo>
                        <a:pt x="68" y="1388"/>
                      </a:lnTo>
                      <a:lnTo>
                        <a:pt x="332" y="1388"/>
                      </a:lnTo>
                      <a:lnTo>
                        <a:pt x="480" y="1388"/>
                      </a:lnTo>
                      <a:lnTo>
                        <a:pt x="2186" y="1388"/>
                      </a:lnTo>
                      <a:lnTo>
                        <a:pt x="2336" y="1388"/>
                      </a:lnTo>
                      <a:lnTo>
                        <a:pt x="2598" y="1388"/>
                      </a:lnTo>
                      <a:lnTo>
                        <a:pt x="2598" y="1388"/>
                      </a:lnTo>
                      <a:lnTo>
                        <a:pt x="2612" y="1388"/>
                      </a:lnTo>
                      <a:lnTo>
                        <a:pt x="2624" y="1392"/>
                      </a:lnTo>
                      <a:lnTo>
                        <a:pt x="2636" y="1398"/>
                      </a:lnTo>
                      <a:lnTo>
                        <a:pt x="2646" y="1408"/>
                      </a:lnTo>
                      <a:lnTo>
                        <a:pt x="2654" y="1418"/>
                      </a:lnTo>
                      <a:lnTo>
                        <a:pt x="2662" y="1430"/>
                      </a:lnTo>
                      <a:lnTo>
                        <a:pt x="2666" y="1442"/>
                      </a:lnTo>
                      <a:lnTo>
                        <a:pt x="2666" y="1456"/>
                      </a:lnTo>
                      <a:lnTo>
                        <a:pt x="2666" y="1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6" name="Oval 17">
              <a:extLst>
                <a:ext uri="{FF2B5EF4-FFF2-40B4-BE49-F238E27FC236}">
                  <a16:creationId xmlns:a16="http://schemas.microsoft.com/office/drawing/2014/main" xmlns="" id="{1DA18973-8A9D-481A-A702-93143CCEC464}"/>
                </a:ext>
              </a:extLst>
            </p:cNvPr>
            <p:cNvSpPr/>
            <p:nvPr/>
          </p:nvSpPr>
          <p:spPr bwMode="ltGray">
            <a:xfrm>
              <a:off x="9165180" y="3127161"/>
              <a:ext cx="581159" cy="542915"/>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solidFill>
                  <a:schemeClr val="bg1"/>
                </a:solidFill>
                <a:latin typeface="Georgia" pitchFamily="18" charset="0"/>
              </a:endParaRPr>
            </a:p>
          </p:txBody>
        </p:sp>
        <p:sp>
          <p:nvSpPr>
            <p:cNvPr id="7" name="Freeform 188">
              <a:extLst>
                <a:ext uri="{FF2B5EF4-FFF2-40B4-BE49-F238E27FC236}">
                  <a16:creationId xmlns:a16="http://schemas.microsoft.com/office/drawing/2014/main" xmlns="" id="{AC46BA92-CB74-432C-8602-F3B07D750CEB}"/>
                </a:ext>
              </a:extLst>
            </p:cNvPr>
            <p:cNvSpPr>
              <a:spLocks noEditPoints="1"/>
            </p:cNvSpPr>
            <p:nvPr/>
          </p:nvSpPr>
          <p:spPr bwMode="auto">
            <a:xfrm>
              <a:off x="9285564" y="3207469"/>
              <a:ext cx="340391" cy="382293"/>
            </a:xfrm>
            <a:custGeom>
              <a:avLst/>
              <a:gdLst>
                <a:gd name="T0" fmla="*/ 2706 w 2750"/>
                <a:gd name="T1" fmla="*/ 1736 h 2704"/>
                <a:gd name="T2" fmla="*/ 1454 w 2750"/>
                <a:gd name="T3" fmla="*/ 2688 h 2704"/>
                <a:gd name="T4" fmla="*/ 1342 w 2750"/>
                <a:gd name="T5" fmla="*/ 2700 h 2704"/>
                <a:gd name="T6" fmla="*/ 92 w 2750"/>
                <a:gd name="T7" fmla="*/ 1788 h 2704"/>
                <a:gd name="T8" fmla="*/ 10 w 2750"/>
                <a:gd name="T9" fmla="*/ 1624 h 2704"/>
                <a:gd name="T10" fmla="*/ 1248 w 2750"/>
                <a:gd name="T11" fmla="*/ 2334 h 2704"/>
                <a:gd name="T12" fmla="*/ 1374 w 2750"/>
                <a:gd name="T13" fmla="*/ 2378 h 2704"/>
                <a:gd name="T14" fmla="*/ 1486 w 2750"/>
                <a:gd name="T15" fmla="*/ 2344 h 2704"/>
                <a:gd name="T16" fmla="*/ 2738 w 2750"/>
                <a:gd name="T17" fmla="*/ 1374 h 2704"/>
                <a:gd name="T18" fmla="*/ 818 w 2750"/>
                <a:gd name="T19" fmla="*/ 1038 h 2704"/>
                <a:gd name="T20" fmla="*/ 684 w 2750"/>
                <a:gd name="T21" fmla="*/ 1020 h 2704"/>
                <a:gd name="T22" fmla="*/ 674 w 2750"/>
                <a:gd name="T23" fmla="*/ 1134 h 2704"/>
                <a:gd name="T24" fmla="*/ 770 w 2750"/>
                <a:gd name="T25" fmla="*/ 1270 h 2704"/>
                <a:gd name="T26" fmla="*/ 916 w 2750"/>
                <a:gd name="T27" fmla="*/ 1386 h 2704"/>
                <a:gd name="T28" fmla="*/ 1014 w 2750"/>
                <a:gd name="T29" fmla="*/ 1370 h 2704"/>
                <a:gd name="T30" fmla="*/ 1006 w 2750"/>
                <a:gd name="T31" fmla="*/ 1244 h 2704"/>
                <a:gd name="T32" fmla="*/ 2750 w 2750"/>
                <a:gd name="T33" fmla="*/ 1090 h 2704"/>
                <a:gd name="T34" fmla="*/ 2662 w 2750"/>
                <a:gd name="T35" fmla="*/ 1264 h 2704"/>
                <a:gd name="T36" fmla="*/ 1408 w 2750"/>
                <a:gd name="T37" fmla="*/ 2178 h 2704"/>
                <a:gd name="T38" fmla="*/ 1290 w 2750"/>
                <a:gd name="T39" fmla="*/ 2164 h 2704"/>
                <a:gd name="T40" fmla="*/ 34 w 2750"/>
                <a:gd name="T41" fmla="*/ 1210 h 2704"/>
                <a:gd name="T42" fmla="*/ 6 w 2750"/>
                <a:gd name="T43" fmla="*/ 1040 h 2704"/>
                <a:gd name="T44" fmla="*/ 1244 w 2750"/>
                <a:gd name="T45" fmla="*/ 42 h 2704"/>
                <a:gd name="T46" fmla="*/ 1374 w 2750"/>
                <a:gd name="T47" fmla="*/ 0 h 2704"/>
                <a:gd name="T48" fmla="*/ 1506 w 2750"/>
                <a:gd name="T49" fmla="*/ 42 h 2704"/>
                <a:gd name="T50" fmla="*/ 2744 w 2750"/>
                <a:gd name="T51" fmla="*/ 1040 h 2704"/>
                <a:gd name="T52" fmla="*/ 1154 w 2750"/>
                <a:gd name="T53" fmla="*/ 1104 h 2704"/>
                <a:gd name="T54" fmla="*/ 1008 w 2750"/>
                <a:gd name="T55" fmla="*/ 938 h 2704"/>
                <a:gd name="T56" fmla="*/ 832 w 2750"/>
                <a:gd name="T57" fmla="*/ 880 h 2704"/>
                <a:gd name="T58" fmla="*/ 680 w 2750"/>
                <a:gd name="T59" fmla="*/ 924 h 2704"/>
                <a:gd name="T60" fmla="*/ 544 w 2750"/>
                <a:gd name="T61" fmla="*/ 1066 h 2704"/>
                <a:gd name="T62" fmla="*/ 546 w 2750"/>
                <a:gd name="T63" fmla="*/ 1290 h 2704"/>
                <a:gd name="T64" fmla="*/ 694 w 2750"/>
                <a:gd name="T65" fmla="*/ 1458 h 2704"/>
                <a:gd name="T66" fmla="*/ 868 w 2750"/>
                <a:gd name="T67" fmla="*/ 1514 h 2704"/>
                <a:gd name="T68" fmla="*/ 1022 w 2750"/>
                <a:gd name="T69" fmla="*/ 1468 h 2704"/>
                <a:gd name="T70" fmla="*/ 1156 w 2750"/>
                <a:gd name="T71" fmla="*/ 1328 h 2704"/>
                <a:gd name="T72" fmla="*/ 1380 w 2750"/>
                <a:gd name="T73" fmla="*/ 462 h 2704"/>
                <a:gd name="T74" fmla="*/ 1352 w 2750"/>
                <a:gd name="T75" fmla="*/ 448 h 2704"/>
                <a:gd name="T76" fmla="*/ 1364 w 2750"/>
                <a:gd name="T77" fmla="*/ 1718 h 2704"/>
                <a:gd name="T78" fmla="*/ 1406 w 2750"/>
                <a:gd name="T79" fmla="*/ 1730 h 2704"/>
                <a:gd name="T80" fmla="*/ 2228 w 2750"/>
                <a:gd name="T81" fmla="*/ 982 h 2704"/>
                <a:gd name="T82" fmla="*/ 2112 w 2750"/>
                <a:gd name="T83" fmla="*/ 764 h 2704"/>
                <a:gd name="T84" fmla="*/ 1934 w 2750"/>
                <a:gd name="T85" fmla="*/ 666 h 2704"/>
                <a:gd name="T86" fmla="*/ 1784 w 2750"/>
                <a:gd name="T87" fmla="*/ 680 h 2704"/>
                <a:gd name="T88" fmla="*/ 1658 w 2750"/>
                <a:gd name="T89" fmla="*/ 762 h 2704"/>
                <a:gd name="T90" fmla="*/ 1572 w 2750"/>
                <a:gd name="T91" fmla="*/ 974 h 2704"/>
                <a:gd name="T92" fmla="*/ 1658 w 2750"/>
                <a:gd name="T93" fmla="*/ 1166 h 2704"/>
                <a:gd name="T94" fmla="*/ 1842 w 2750"/>
                <a:gd name="T95" fmla="*/ 1286 h 2704"/>
                <a:gd name="T96" fmla="*/ 1980 w 2750"/>
                <a:gd name="T97" fmla="*/ 1290 h 2704"/>
                <a:gd name="T98" fmla="*/ 2142 w 2750"/>
                <a:gd name="T99" fmla="*/ 1196 h 2704"/>
                <a:gd name="T100" fmla="*/ 2228 w 2750"/>
                <a:gd name="T101" fmla="*/ 982 h 2704"/>
                <a:gd name="T102" fmla="*/ 1944 w 2750"/>
                <a:gd name="T103" fmla="*/ 884 h 2704"/>
                <a:gd name="T104" fmla="*/ 1800 w 2750"/>
                <a:gd name="T105" fmla="*/ 788 h 2704"/>
                <a:gd name="T106" fmla="*/ 1712 w 2750"/>
                <a:gd name="T107" fmla="*/ 842 h 2704"/>
                <a:gd name="T108" fmla="*/ 1746 w 2750"/>
                <a:gd name="T109" fmla="*/ 960 h 2704"/>
                <a:gd name="T110" fmla="*/ 1900 w 2750"/>
                <a:gd name="T111" fmla="*/ 1126 h 2704"/>
                <a:gd name="T112" fmla="*/ 2024 w 2750"/>
                <a:gd name="T113" fmla="*/ 1178 h 2704"/>
                <a:gd name="T114" fmla="*/ 2080 w 2750"/>
                <a:gd name="T115" fmla="*/ 1100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0" h="2704">
                  <a:moveTo>
                    <a:pt x="2738" y="1374"/>
                  </a:moveTo>
                  <a:lnTo>
                    <a:pt x="2738" y="1624"/>
                  </a:lnTo>
                  <a:lnTo>
                    <a:pt x="2738" y="1624"/>
                  </a:lnTo>
                  <a:lnTo>
                    <a:pt x="2738" y="1648"/>
                  </a:lnTo>
                  <a:lnTo>
                    <a:pt x="2732" y="1670"/>
                  </a:lnTo>
                  <a:lnTo>
                    <a:pt x="2726" y="1694"/>
                  </a:lnTo>
                  <a:lnTo>
                    <a:pt x="2716" y="1716"/>
                  </a:lnTo>
                  <a:lnTo>
                    <a:pt x="2706" y="1736"/>
                  </a:lnTo>
                  <a:lnTo>
                    <a:pt x="2690" y="1754"/>
                  </a:lnTo>
                  <a:lnTo>
                    <a:pt x="2674" y="1772"/>
                  </a:lnTo>
                  <a:lnTo>
                    <a:pt x="2656" y="1788"/>
                  </a:lnTo>
                  <a:lnTo>
                    <a:pt x="1498" y="2662"/>
                  </a:lnTo>
                  <a:lnTo>
                    <a:pt x="1498" y="2662"/>
                  </a:lnTo>
                  <a:lnTo>
                    <a:pt x="1484" y="2672"/>
                  </a:lnTo>
                  <a:lnTo>
                    <a:pt x="1470" y="2680"/>
                  </a:lnTo>
                  <a:lnTo>
                    <a:pt x="1454" y="2688"/>
                  </a:lnTo>
                  <a:lnTo>
                    <a:pt x="1440" y="2694"/>
                  </a:lnTo>
                  <a:lnTo>
                    <a:pt x="1424" y="2698"/>
                  </a:lnTo>
                  <a:lnTo>
                    <a:pt x="1408" y="2700"/>
                  </a:lnTo>
                  <a:lnTo>
                    <a:pt x="1390" y="2702"/>
                  </a:lnTo>
                  <a:lnTo>
                    <a:pt x="1374" y="2704"/>
                  </a:lnTo>
                  <a:lnTo>
                    <a:pt x="1374" y="2704"/>
                  </a:lnTo>
                  <a:lnTo>
                    <a:pt x="1358" y="2702"/>
                  </a:lnTo>
                  <a:lnTo>
                    <a:pt x="1342" y="2700"/>
                  </a:lnTo>
                  <a:lnTo>
                    <a:pt x="1326" y="2698"/>
                  </a:lnTo>
                  <a:lnTo>
                    <a:pt x="1310" y="2694"/>
                  </a:lnTo>
                  <a:lnTo>
                    <a:pt x="1294" y="2688"/>
                  </a:lnTo>
                  <a:lnTo>
                    <a:pt x="1278" y="2680"/>
                  </a:lnTo>
                  <a:lnTo>
                    <a:pt x="1264" y="2672"/>
                  </a:lnTo>
                  <a:lnTo>
                    <a:pt x="1250" y="2662"/>
                  </a:lnTo>
                  <a:lnTo>
                    <a:pt x="92" y="1788"/>
                  </a:lnTo>
                  <a:lnTo>
                    <a:pt x="92" y="1788"/>
                  </a:lnTo>
                  <a:lnTo>
                    <a:pt x="74" y="1772"/>
                  </a:lnTo>
                  <a:lnTo>
                    <a:pt x="58" y="1754"/>
                  </a:lnTo>
                  <a:lnTo>
                    <a:pt x="44" y="1736"/>
                  </a:lnTo>
                  <a:lnTo>
                    <a:pt x="32" y="1716"/>
                  </a:lnTo>
                  <a:lnTo>
                    <a:pt x="22" y="1694"/>
                  </a:lnTo>
                  <a:lnTo>
                    <a:pt x="16" y="1670"/>
                  </a:lnTo>
                  <a:lnTo>
                    <a:pt x="12" y="1648"/>
                  </a:lnTo>
                  <a:lnTo>
                    <a:pt x="10" y="1624"/>
                  </a:lnTo>
                  <a:lnTo>
                    <a:pt x="10" y="1374"/>
                  </a:lnTo>
                  <a:lnTo>
                    <a:pt x="10" y="1374"/>
                  </a:lnTo>
                  <a:lnTo>
                    <a:pt x="22" y="1394"/>
                  </a:lnTo>
                  <a:lnTo>
                    <a:pt x="36" y="1414"/>
                  </a:lnTo>
                  <a:lnTo>
                    <a:pt x="52" y="1430"/>
                  </a:lnTo>
                  <a:lnTo>
                    <a:pt x="70" y="1446"/>
                  </a:lnTo>
                  <a:lnTo>
                    <a:pt x="1248" y="2334"/>
                  </a:lnTo>
                  <a:lnTo>
                    <a:pt x="1248" y="2334"/>
                  </a:lnTo>
                  <a:lnTo>
                    <a:pt x="1262" y="2344"/>
                  </a:lnTo>
                  <a:lnTo>
                    <a:pt x="1276" y="2354"/>
                  </a:lnTo>
                  <a:lnTo>
                    <a:pt x="1292" y="2360"/>
                  </a:lnTo>
                  <a:lnTo>
                    <a:pt x="1308" y="2366"/>
                  </a:lnTo>
                  <a:lnTo>
                    <a:pt x="1324" y="2372"/>
                  </a:lnTo>
                  <a:lnTo>
                    <a:pt x="1340" y="2374"/>
                  </a:lnTo>
                  <a:lnTo>
                    <a:pt x="1358" y="2376"/>
                  </a:lnTo>
                  <a:lnTo>
                    <a:pt x="1374" y="2378"/>
                  </a:lnTo>
                  <a:lnTo>
                    <a:pt x="1374" y="2378"/>
                  </a:lnTo>
                  <a:lnTo>
                    <a:pt x="1390" y="2376"/>
                  </a:lnTo>
                  <a:lnTo>
                    <a:pt x="1408" y="2374"/>
                  </a:lnTo>
                  <a:lnTo>
                    <a:pt x="1424" y="2372"/>
                  </a:lnTo>
                  <a:lnTo>
                    <a:pt x="1440" y="2366"/>
                  </a:lnTo>
                  <a:lnTo>
                    <a:pt x="1456" y="2360"/>
                  </a:lnTo>
                  <a:lnTo>
                    <a:pt x="1472" y="2354"/>
                  </a:lnTo>
                  <a:lnTo>
                    <a:pt x="1486" y="2344"/>
                  </a:lnTo>
                  <a:lnTo>
                    <a:pt x="1500" y="2334"/>
                  </a:lnTo>
                  <a:lnTo>
                    <a:pt x="2678" y="1446"/>
                  </a:lnTo>
                  <a:lnTo>
                    <a:pt x="2678" y="1446"/>
                  </a:lnTo>
                  <a:lnTo>
                    <a:pt x="2696" y="1430"/>
                  </a:lnTo>
                  <a:lnTo>
                    <a:pt x="2712" y="1414"/>
                  </a:lnTo>
                  <a:lnTo>
                    <a:pt x="2726" y="1394"/>
                  </a:lnTo>
                  <a:lnTo>
                    <a:pt x="2738" y="1374"/>
                  </a:lnTo>
                  <a:lnTo>
                    <a:pt x="2738" y="1374"/>
                  </a:lnTo>
                  <a:close/>
                  <a:moveTo>
                    <a:pt x="942" y="1150"/>
                  </a:moveTo>
                  <a:lnTo>
                    <a:pt x="942" y="1150"/>
                  </a:lnTo>
                  <a:lnTo>
                    <a:pt x="920" y="1126"/>
                  </a:lnTo>
                  <a:lnTo>
                    <a:pt x="896" y="1102"/>
                  </a:lnTo>
                  <a:lnTo>
                    <a:pt x="870" y="1078"/>
                  </a:lnTo>
                  <a:lnTo>
                    <a:pt x="842" y="1056"/>
                  </a:lnTo>
                  <a:lnTo>
                    <a:pt x="842" y="1056"/>
                  </a:lnTo>
                  <a:lnTo>
                    <a:pt x="818" y="1038"/>
                  </a:lnTo>
                  <a:lnTo>
                    <a:pt x="794" y="1024"/>
                  </a:lnTo>
                  <a:lnTo>
                    <a:pt x="772" y="1014"/>
                  </a:lnTo>
                  <a:lnTo>
                    <a:pt x="752" y="1006"/>
                  </a:lnTo>
                  <a:lnTo>
                    <a:pt x="732" y="1004"/>
                  </a:lnTo>
                  <a:lnTo>
                    <a:pt x="714" y="1006"/>
                  </a:lnTo>
                  <a:lnTo>
                    <a:pt x="698" y="1012"/>
                  </a:lnTo>
                  <a:lnTo>
                    <a:pt x="684" y="1020"/>
                  </a:lnTo>
                  <a:lnTo>
                    <a:pt x="684" y="1020"/>
                  </a:lnTo>
                  <a:lnTo>
                    <a:pt x="672" y="1032"/>
                  </a:lnTo>
                  <a:lnTo>
                    <a:pt x="666" y="1044"/>
                  </a:lnTo>
                  <a:lnTo>
                    <a:pt x="662" y="1060"/>
                  </a:lnTo>
                  <a:lnTo>
                    <a:pt x="660" y="1076"/>
                  </a:lnTo>
                  <a:lnTo>
                    <a:pt x="660" y="1076"/>
                  </a:lnTo>
                  <a:lnTo>
                    <a:pt x="662" y="1094"/>
                  </a:lnTo>
                  <a:lnTo>
                    <a:pt x="668" y="1114"/>
                  </a:lnTo>
                  <a:lnTo>
                    <a:pt x="674" y="1134"/>
                  </a:lnTo>
                  <a:lnTo>
                    <a:pt x="684" y="1156"/>
                  </a:lnTo>
                  <a:lnTo>
                    <a:pt x="684" y="1156"/>
                  </a:lnTo>
                  <a:lnTo>
                    <a:pt x="698" y="1180"/>
                  </a:lnTo>
                  <a:lnTo>
                    <a:pt x="712" y="1202"/>
                  </a:lnTo>
                  <a:lnTo>
                    <a:pt x="730" y="1226"/>
                  </a:lnTo>
                  <a:lnTo>
                    <a:pt x="750" y="1250"/>
                  </a:lnTo>
                  <a:lnTo>
                    <a:pt x="750" y="1250"/>
                  </a:lnTo>
                  <a:lnTo>
                    <a:pt x="770" y="1270"/>
                  </a:lnTo>
                  <a:lnTo>
                    <a:pt x="770" y="1270"/>
                  </a:lnTo>
                  <a:lnTo>
                    <a:pt x="808" y="1308"/>
                  </a:lnTo>
                  <a:lnTo>
                    <a:pt x="850" y="1344"/>
                  </a:lnTo>
                  <a:lnTo>
                    <a:pt x="850" y="1344"/>
                  </a:lnTo>
                  <a:lnTo>
                    <a:pt x="884" y="1368"/>
                  </a:lnTo>
                  <a:lnTo>
                    <a:pt x="900" y="1378"/>
                  </a:lnTo>
                  <a:lnTo>
                    <a:pt x="916" y="1386"/>
                  </a:lnTo>
                  <a:lnTo>
                    <a:pt x="916" y="1386"/>
                  </a:lnTo>
                  <a:lnTo>
                    <a:pt x="940" y="1394"/>
                  </a:lnTo>
                  <a:lnTo>
                    <a:pt x="940" y="1394"/>
                  </a:lnTo>
                  <a:lnTo>
                    <a:pt x="956" y="1396"/>
                  </a:lnTo>
                  <a:lnTo>
                    <a:pt x="974" y="1396"/>
                  </a:lnTo>
                  <a:lnTo>
                    <a:pt x="988" y="1390"/>
                  </a:lnTo>
                  <a:lnTo>
                    <a:pt x="1002" y="1380"/>
                  </a:lnTo>
                  <a:lnTo>
                    <a:pt x="1002" y="1380"/>
                  </a:lnTo>
                  <a:lnTo>
                    <a:pt x="1014" y="1370"/>
                  </a:lnTo>
                  <a:lnTo>
                    <a:pt x="1022" y="1356"/>
                  </a:lnTo>
                  <a:lnTo>
                    <a:pt x="1028" y="1340"/>
                  </a:lnTo>
                  <a:lnTo>
                    <a:pt x="1028" y="1324"/>
                  </a:lnTo>
                  <a:lnTo>
                    <a:pt x="1028" y="1324"/>
                  </a:lnTo>
                  <a:lnTo>
                    <a:pt x="1026" y="1306"/>
                  </a:lnTo>
                  <a:lnTo>
                    <a:pt x="1022" y="1286"/>
                  </a:lnTo>
                  <a:lnTo>
                    <a:pt x="1016" y="1264"/>
                  </a:lnTo>
                  <a:lnTo>
                    <a:pt x="1006" y="1244"/>
                  </a:lnTo>
                  <a:lnTo>
                    <a:pt x="1006" y="1244"/>
                  </a:lnTo>
                  <a:lnTo>
                    <a:pt x="994" y="1220"/>
                  </a:lnTo>
                  <a:lnTo>
                    <a:pt x="980" y="1198"/>
                  </a:lnTo>
                  <a:lnTo>
                    <a:pt x="962" y="1174"/>
                  </a:lnTo>
                  <a:lnTo>
                    <a:pt x="942" y="1150"/>
                  </a:lnTo>
                  <a:lnTo>
                    <a:pt x="942" y="1150"/>
                  </a:lnTo>
                  <a:close/>
                  <a:moveTo>
                    <a:pt x="2750" y="1090"/>
                  </a:moveTo>
                  <a:lnTo>
                    <a:pt x="2750" y="1090"/>
                  </a:lnTo>
                  <a:lnTo>
                    <a:pt x="2748" y="1116"/>
                  </a:lnTo>
                  <a:lnTo>
                    <a:pt x="2744" y="1140"/>
                  </a:lnTo>
                  <a:lnTo>
                    <a:pt x="2736" y="1164"/>
                  </a:lnTo>
                  <a:lnTo>
                    <a:pt x="2726" y="1188"/>
                  </a:lnTo>
                  <a:lnTo>
                    <a:pt x="2714" y="1210"/>
                  </a:lnTo>
                  <a:lnTo>
                    <a:pt x="2700" y="1230"/>
                  </a:lnTo>
                  <a:lnTo>
                    <a:pt x="2682" y="1248"/>
                  </a:lnTo>
                  <a:lnTo>
                    <a:pt x="2662" y="1264"/>
                  </a:lnTo>
                  <a:lnTo>
                    <a:pt x="1506" y="2138"/>
                  </a:lnTo>
                  <a:lnTo>
                    <a:pt x="1506" y="2138"/>
                  </a:lnTo>
                  <a:lnTo>
                    <a:pt x="1490" y="2148"/>
                  </a:lnTo>
                  <a:lnTo>
                    <a:pt x="1476" y="2156"/>
                  </a:lnTo>
                  <a:lnTo>
                    <a:pt x="1460" y="2164"/>
                  </a:lnTo>
                  <a:lnTo>
                    <a:pt x="1442" y="2170"/>
                  </a:lnTo>
                  <a:lnTo>
                    <a:pt x="1426" y="2176"/>
                  </a:lnTo>
                  <a:lnTo>
                    <a:pt x="1408" y="2178"/>
                  </a:lnTo>
                  <a:lnTo>
                    <a:pt x="1392" y="2182"/>
                  </a:lnTo>
                  <a:lnTo>
                    <a:pt x="1374" y="2182"/>
                  </a:lnTo>
                  <a:lnTo>
                    <a:pt x="1374" y="2182"/>
                  </a:lnTo>
                  <a:lnTo>
                    <a:pt x="1356" y="2182"/>
                  </a:lnTo>
                  <a:lnTo>
                    <a:pt x="1340" y="2178"/>
                  </a:lnTo>
                  <a:lnTo>
                    <a:pt x="1322" y="2176"/>
                  </a:lnTo>
                  <a:lnTo>
                    <a:pt x="1306" y="2170"/>
                  </a:lnTo>
                  <a:lnTo>
                    <a:pt x="1290" y="2164"/>
                  </a:lnTo>
                  <a:lnTo>
                    <a:pt x="1274" y="2156"/>
                  </a:lnTo>
                  <a:lnTo>
                    <a:pt x="1258" y="2148"/>
                  </a:lnTo>
                  <a:lnTo>
                    <a:pt x="1244" y="2138"/>
                  </a:lnTo>
                  <a:lnTo>
                    <a:pt x="86" y="1264"/>
                  </a:lnTo>
                  <a:lnTo>
                    <a:pt x="86" y="1264"/>
                  </a:lnTo>
                  <a:lnTo>
                    <a:pt x="66" y="1248"/>
                  </a:lnTo>
                  <a:lnTo>
                    <a:pt x="50" y="1230"/>
                  </a:lnTo>
                  <a:lnTo>
                    <a:pt x="34" y="1210"/>
                  </a:lnTo>
                  <a:lnTo>
                    <a:pt x="22" y="1188"/>
                  </a:lnTo>
                  <a:lnTo>
                    <a:pt x="12" y="1164"/>
                  </a:lnTo>
                  <a:lnTo>
                    <a:pt x="6" y="1140"/>
                  </a:lnTo>
                  <a:lnTo>
                    <a:pt x="0" y="1116"/>
                  </a:lnTo>
                  <a:lnTo>
                    <a:pt x="0" y="1090"/>
                  </a:lnTo>
                  <a:lnTo>
                    <a:pt x="0" y="1090"/>
                  </a:lnTo>
                  <a:lnTo>
                    <a:pt x="0" y="1064"/>
                  </a:lnTo>
                  <a:lnTo>
                    <a:pt x="6" y="1040"/>
                  </a:lnTo>
                  <a:lnTo>
                    <a:pt x="12" y="1016"/>
                  </a:lnTo>
                  <a:lnTo>
                    <a:pt x="22" y="994"/>
                  </a:lnTo>
                  <a:lnTo>
                    <a:pt x="34" y="972"/>
                  </a:lnTo>
                  <a:lnTo>
                    <a:pt x="50" y="952"/>
                  </a:lnTo>
                  <a:lnTo>
                    <a:pt x="66" y="934"/>
                  </a:lnTo>
                  <a:lnTo>
                    <a:pt x="86" y="916"/>
                  </a:lnTo>
                  <a:lnTo>
                    <a:pt x="1244" y="42"/>
                  </a:lnTo>
                  <a:lnTo>
                    <a:pt x="1244" y="42"/>
                  </a:lnTo>
                  <a:lnTo>
                    <a:pt x="1258" y="32"/>
                  </a:lnTo>
                  <a:lnTo>
                    <a:pt x="1274" y="24"/>
                  </a:lnTo>
                  <a:lnTo>
                    <a:pt x="1290" y="16"/>
                  </a:lnTo>
                  <a:lnTo>
                    <a:pt x="1306" y="10"/>
                  </a:lnTo>
                  <a:lnTo>
                    <a:pt x="1322" y="6"/>
                  </a:lnTo>
                  <a:lnTo>
                    <a:pt x="1340" y="2"/>
                  </a:lnTo>
                  <a:lnTo>
                    <a:pt x="1356" y="0"/>
                  </a:lnTo>
                  <a:lnTo>
                    <a:pt x="1374" y="0"/>
                  </a:lnTo>
                  <a:lnTo>
                    <a:pt x="1392" y="0"/>
                  </a:lnTo>
                  <a:lnTo>
                    <a:pt x="1408" y="2"/>
                  </a:lnTo>
                  <a:lnTo>
                    <a:pt x="1426" y="6"/>
                  </a:lnTo>
                  <a:lnTo>
                    <a:pt x="1442" y="10"/>
                  </a:lnTo>
                  <a:lnTo>
                    <a:pt x="1460" y="16"/>
                  </a:lnTo>
                  <a:lnTo>
                    <a:pt x="1476" y="24"/>
                  </a:lnTo>
                  <a:lnTo>
                    <a:pt x="1490" y="32"/>
                  </a:lnTo>
                  <a:lnTo>
                    <a:pt x="1506" y="42"/>
                  </a:lnTo>
                  <a:lnTo>
                    <a:pt x="2662" y="916"/>
                  </a:lnTo>
                  <a:lnTo>
                    <a:pt x="2662" y="916"/>
                  </a:lnTo>
                  <a:lnTo>
                    <a:pt x="2682" y="934"/>
                  </a:lnTo>
                  <a:lnTo>
                    <a:pt x="2700" y="952"/>
                  </a:lnTo>
                  <a:lnTo>
                    <a:pt x="2714" y="972"/>
                  </a:lnTo>
                  <a:lnTo>
                    <a:pt x="2726" y="994"/>
                  </a:lnTo>
                  <a:lnTo>
                    <a:pt x="2736" y="1016"/>
                  </a:lnTo>
                  <a:lnTo>
                    <a:pt x="2744" y="1040"/>
                  </a:lnTo>
                  <a:lnTo>
                    <a:pt x="2748" y="1064"/>
                  </a:lnTo>
                  <a:lnTo>
                    <a:pt x="2750" y="1090"/>
                  </a:lnTo>
                  <a:lnTo>
                    <a:pt x="2750" y="1090"/>
                  </a:lnTo>
                  <a:close/>
                  <a:moveTo>
                    <a:pt x="1180" y="1200"/>
                  </a:moveTo>
                  <a:lnTo>
                    <a:pt x="1180" y="1200"/>
                  </a:lnTo>
                  <a:lnTo>
                    <a:pt x="1176" y="1168"/>
                  </a:lnTo>
                  <a:lnTo>
                    <a:pt x="1166" y="1136"/>
                  </a:lnTo>
                  <a:lnTo>
                    <a:pt x="1154" y="1104"/>
                  </a:lnTo>
                  <a:lnTo>
                    <a:pt x="1138" y="1072"/>
                  </a:lnTo>
                  <a:lnTo>
                    <a:pt x="1138" y="1072"/>
                  </a:lnTo>
                  <a:lnTo>
                    <a:pt x="1118" y="1042"/>
                  </a:lnTo>
                  <a:lnTo>
                    <a:pt x="1092" y="1012"/>
                  </a:lnTo>
                  <a:lnTo>
                    <a:pt x="1064" y="982"/>
                  </a:lnTo>
                  <a:lnTo>
                    <a:pt x="1032" y="954"/>
                  </a:lnTo>
                  <a:lnTo>
                    <a:pt x="1032" y="954"/>
                  </a:lnTo>
                  <a:lnTo>
                    <a:pt x="1008" y="938"/>
                  </a:lnTo>
                  <a:lnTo>
                    <a:pt x="984" y="922"/>
                  </a:lnTo>
                  <a:lnTo>
                    <a:pt x="960" y="910"/>
                  </a:lnTo>
                  <a:lnTo>
                    <a:pt x="934" y="900"/>
                  </a:lnTo>
                  <a:lnTo>
                    <a:pt x="910" y="892"/>
                  </a:lnTo>
                  <a:lnTo>
                    <a:pt x="884" y="886"/>
                  </a:lnTo>
                  <a:lnTo>
                    <a:pt x="858" y="882"/>
                  </a:lnTo>
                  <a:lnTo>
                    <a:pt x="832" y="880"/>
                  </a:lnTo>
                  <a:lnTo>
                    <a:pt x="832" y="880"/>
                  </a:lnTo>
                  <a:lnTo>
                    <a:pt x="814" y="880"/>
                  </a:lnTo>
                  <a:lnTo>
                    <a:pt x="814" y="880"/>
                  </a:lnTo>
                  <a:lnTo>
                    <a:pt x="792" y="884"/>
                  </a:lnTo>
                  <a:lnTo>
                    <a:pt x="768" y="888"/>
                  </a:lnTo>
                  <a:lnTo>
                    <a:pt x="746" y="894"/>
                  </a:lnTo>
                  <a:lnTo>
                    <a:pt x="724" y="902"/>
                  </a:lnTo>
                  <a:lnTo>
                    <a:pt x="700" y="912"/>
                  </a:lnTo>
                  <a:lnTo>
                    <a:pt x="680" y="924"/>
                  </a:lnTo>
                  <a:lnTo>
                    <a:pt x="658" y="938"/>
                  </a:lnTo>
                  <a:lnTo>
                    <a:pt x="636" y="954"/>
                  </a:lnTo>
                  <a:lnTo>
                    <a:pt x="636" y="954"/>
                  </a:lnTo>
                  <a:lnTo>
                    <a:pt x="608" y="980"/>
                  </a:lnTo>
                  <a:lnTo>
                    <a:pt x="582" y="1008"/>
                  </a:lnTo>
                  <a:lnTo>
                    <a:pt x="562" y="1036"/>
                  </a:lnTo>
                  <a:lnTo>
                    <a:pt x="544" y="1066"/>
                  </a:lnTo>
                  <a:lnTo>
                    <a:pt x="544" y="1066"/>
                  </a:lnTo>
                  <a:lnTo>
                    <a:pt x="532" y="1098"/>
                  </a:lnTo>
                  <a:lnTo>
                    <a:pt x="524" y="1128"/>
                  </a:lnTo>
                  <a:lnTo>
                    <a:pt x="520" y="1160"/>
                  </a:lnTo>
                  <a:lnTo>
                    <a:pt x="520" y="1192"/>
                  </a:lnTo>
                  <a:lnTo>
                    <a:pt x="520" y="1192"/>
                  </a:lnTo>
                  <a:lnTo>
                    <a:pt x="524" y="1226"/>
                  </a:lnTo>
                  <a:lnTo>
                    <a:pt x="534" y="1258"/>
                  </a:lnTo>
                  <a:lnTo>
                    <a:pt x="546" y="1290"/>
                  </a:lnTo>
                  <a:lnTo>
                    <a:pt x="562" y="1322"/>
                  </a:lnTo>
                  <a:lnTo>
                    <a:pt x="562" y="1322"/>
                  </a:lnTo>
                  <a:lnTo>
                    <a:pt x="584" y="1354"/>
                  </a:lnTo>
                  <a:lnTo>
                    <a:pt x="608" y="1384"/>
                  </a:lnTo>
                  <a:lnTo>
                    <a:pt x="638" y="1412"/>
                  </a:lnTo>
                  <a:lnTo>
                    <a:pt x="670" y="1440"/>
                  </a:lnTo>
                  <a:lnTo>
                    <a:pt x="670" y="1440"/>
                  </a:lnTo>
                  <a:lnTo>
                    <a:pt x="694" y="1458"/>
                  </a:lnTo>
                  <a:lnTo>
                    <a:pt x="718" y="1472"/>
                  </a:lnTo>
                  <a:lnTo>
                    <a:pt x="742" y="1486"/>
                  </a:lnTo>
                  <a:lnTo>
                    <a:pt x="768" y="1496"/>
                  </a:lnTo>
                  <a:lnTo>
                    <a:pt x="792" y="1504"/>
                  </a:lnTo>
                  <a:lnTo>
                    <a:pt x="818" y="1510"/>
                  </a:lnTo>
                  <a:lnTo>
                    <a:pt x="842" y="1512"/>
                  </a:lnTo>
                  <a:lnTo>
                    <a:pt x="868" y="1514"/>
                  </a:lnTo>
                  <a:lnTo>
                    <a:pt x="868" y="1514"/>
                  </a:lnTo>
                  <a:lnTo>
                    <a:pt x="888" y="1512"/>
                  </a:lnTo>
                  <a:lnTo>
                    <a:pt x="908" y="1510"/>
                  </a:lnTo>
                  <a:lnTo>
                    <a:pt x="928" y="1508"/>
                  </a:lnTo>
                  <a:lnTo>
                    <a:pt x="946" y="1502"/>
                  </a:lnTo>
                  <a:lnTo>
                    <a:pt x="966" y="1496"/>
                  </a:lnTo>
                  <a:lnTo>
                    <a:pt x="984" y="1488"/>
                  </a:lnTo>
                  <a:lnTo>
                    <a:pt x="1004" y="1478"/>
                  </a:lnTo>
                  <a:lnTo>
                    <a:pt x="1022" y="1468"/>
                  </a:lnTo>
                  <a:lnTo>
                    <a:pt x="1022" y="1468"/>
                  </a:lnTo>
                  <a:lnTo>
                    <a:pt x="1044" y="1454"/>
                  </a:lnTo>
                  <a:lnTo>
                    <a:pt x="1064" y="1438"/>
                  </a:lnTo>
                  <a:lnTo>
                    <a:pt x="1064" y="1438"/>
                  </a:lnTo>
                  <a:lnTo>
                    <a:pt x="1094" y="1412"/>
                  </a:lnTo>
                  <a:lnTo>
                    <a:pt x="1118" y="1386"/>
                  </a:lnTo>
                  <a:lnTo>
                    <a:pt x="1138" y="1358"/>
                  </a:lnTo>
                  <a:lnTo>
                    <a:pt x="1156" y="1328"/>
                  </a:lnTo>
                  <a:lnTo>
                    <a:pt x="1156" y="1328"/>
                  </a:lnTo>
                  <a:lnTo>
                    <a:pt x="1168" y="1296"/>
                  </a:lnTo>
                  <a:lnTo>
                    <a:pt x="1176" y="1264"/>
                  </a:lnTo>
                  <a:lnTo>
                    <a:pt x="1180" y="1232"/>
                  </a:lnTo>
                  <a:lnTo>
                    <a:pt x="1180" y="1200"/>
                  </a:lnTo>
                  <a:lnTo>
                    <a:pt x="1180" y="1200"/>
                  </a:lnTo>
                  <a:close/>
                  <a:moveTo>
                    <a:pt x="1534" y="1626"/>
                  </a:moveTo>
                  <a:lnTo>
                    <a:pt x="1380" y="462"/>
                  </a:lnTo>
                  <a:lnTo>
                    <a:pt x="1380" y="462"/>
                  </a:lnTo>
                  <a:lnTo>
                    <a:pt x="1380" y="458"/>
                  </a:lnTo>
                  <a:lnTo>
                    <a:pt x="1376" y="456"/>
                  </a:lnTo>
                  <a:lnTo>
                    <a:pt x="1372" y="452"/>
                  </a:lnTo>
                  <a:lnTo>
                    <a:pt x="1364" y="450"/>
                  </a:lnTo>
                  <a:lnTo>
                    <a:pt x="1364" y="450"/>
                  </a:lnTo>
                  <a:lnTo>
                    <a:pt x="1352" y="448"/>
                  </a:lnTo>
                  <a:lnTo>
                    <a:pt x="1352" y="448"/>
                  </a:lnTo>
                  <a:lnTo>
                    <a:pt x="1338" y="450"/>
                  </a:lnTo>
                  <a:lnTo>
                    <a:pt x="1328" y="456"/>
                  </a:lnTo>
                  <a:lnTo>
                    <a:pt x="1216" y="546"/>
                  </a:lnTo>
                  <a:lnTo>
                    <a:pt x="1216" y="546"/>
                  </a:lnTo>
                  <a:lnTo>
                    <a:pt x="1212" y="548"/>
                  </a:lnTo>
                  <a:lnTo>
                    <a:pt x="1210" y="554"/>
                  </a:lnTo>
                  <a:lnTo>
                    <a:pt x="1364" y="1718"/>
                  </a:lnTo>
                  <a:lnTo>
                    <a:pt x="1364" y="1718"/>
                  </a:lnTo>
                  <a:lnTo>
                    <a:pt x="1366" y="1722"/>
                  </a:lnTo>
                  <a:lnTo>
                    <a:pt x="1368" y="1726"/>
                  </a:lnTo>
                  <a:lnTo>
                    <a:pt x="1374" y="1728"/>
                  </a:lnTo>
                  <a:lnTo>
                    <a:pt x="1380" y="1730"/>
                  </a:lnTo>
                  <a:lnTo>
                    <a:pt x="1380" y="1730"/>
                  </a:lnTo>
                  <a:lnTo>
                    <a:pt x="1392" y="1732"/>
                  </a:lnTo>
                  <a:lnTo>
                    <a:pt x="1392" y="1732"/>
                  </a:lnTo>
                  <a:lnTo>
                    <a:pt x="1406" y="1730"/>
                  </a:lnTo>
                  <a:lnTo>
                    <a:pt x="1418" y="1724"/>
                  </a:lnTo>
                  <a:lnTo>
                    <a:pt x="1528" y="1636"/>
                  </a:lnTo>
                  <a:lnTo>
                    <a:pt x="1528" y="1636"/>
                  </a:lnTo>
                  <a:lnTo>
                    <a:pt x="1532" y="1632"/>
                  </a:lnTo>
                  <a:lnTo>
                    <a:pt x="1534" y="1626"/>
                  </a:lnTo>
                  <a:lnTo>
                    <a:pt x="1534" y="1626"/>
                  </a:lnTo>
                  <a:close/>
                  <a:moveTo>
                    <a:pt x="2228" y="982"/>
                  </a:moveTo>
                  <a:lnTo>
                    <a:pt x="2228" y="982"/>
                  </a:lnTo>
                  <a:lnTo>
                    <a:pt x="2224" y="950"/>
                  </a:lnTo>
                  <a:lnTo>
                    <a:pt x="2216" y="918"/>
                  </a:lnTo>
                  <a:lnTo>
                    <a:pt x="2204" y="886"/>
                  </a:lnTo>
                  <a:lnTo>
                    <a:pt x="2186" y="854"/>
                  </a:lnTo>
                  <a:lnTo>
                    <a:pt x="2186" y="854"/>
                  </a:lnTo>
                  <a:lnTo>
                    <a:pt x="2166" y="824"/>
                  </a:lnTo>
                  <a:lnTo>
                    <a:pt x="2142" y="794"/>
                  </a:lnTo>
                  <a:lnTo>
                    <a:pt x="2112" y="764"/>
                  </a:lnTo>
                  <a:lnTo>
                    <a:pt x="2080" y="736"/>
                  </a:lnTo>
                  <a:lnTo>
                    <a:pt x="2080" y="736"/>
                  </a:lnTo>
                  <a:lnTo>
                    <a:pt x="2056" y="718"/>
                  </a:lnTo>
                  <a:lnTo>
                    <a:pt x="2032" y="704"/>
                  </a:lnTo>
                  <a:lnTo>
                    <a:pt x="2008" y="692"/>
                  </a:lnTo>
                  <a:lnTo>
                    <a:pt x="1984" y="680"/>
                  </a:lnTo>
                  <a:lnTo>
                    <a:pt x="1958" y="672"/>
                  </a:lnTo>
                  <a:lnTo>
                    <a:pt x="1934" y="666"/>
                  </a:lnTo>
                  <a:lnTo>
                    <a:pt x="1908" y="664"/>
                  </a:lnTo>
                  <a:lnTo>
                    <a:pt x="1882" y="662"/>
                  </a:lnTo>
                  <a:lnTo>
                    <a:pt x="1882" y="662"/>
                  </a:lnTo>
                  <a:lnTo>
                    <a:pt x="1862" y="662"/>
                  </a:lnTo>
                  <a:lnTo>
                    <a:pt x="1842" y="664"/>
                  </a:lnTo>
                  <a:lnTo>
                    <a:pt x="1822" y="668"/>
                  </a:lnTo>
                  <a:lnTo>
                    <a:pt x="1804" y="674"/>
                  </a:lnTo>
                  <a:lnTo>
                    <a:pt x="1784" y="680"/>
                  </a:lnTo>
                  <a:lnTo>
                    <a:pt x="1764" y="688"/>
                  </a:lnTo>
                  <a:lnTo>
                    <a:pt x="1746" y="696"/>
                  </a:lnTo>
                  <a:lnTo>
                    <a:pt x="1728" y="708"/>
                  </a:lnTo>
                  <a:lnTo>
                    <a:pt x="1728" y="708"/>
                  </a:lnTo>
                  <a:lnTo>
                    <a:pt x="1708" y="720"/>
                  </a:lnTo>
                  <a:lnTo>
                    <a:pt x="1688" y="734"/>
                  </a:lnTo>
                  <a:lnTo>
                    <a:pt x="1688" y="734"/>
                  </a:lnTo>
                  <a:lnTo>
                    <a:pt x="1658" y="762"/>
                  </a:lnTo>
                  <a:lnTo>
                    <a:pt x="1634" y="788"/>
                  </a:lnTo>
                  <a:lnTo>
                    <a:pt x="1612" y="818"/>
                  </a:lnTo>
                  <a:lnTo>
                    <a:pt x="1596" y="848"/>
                  </a:lnTo>
                  <a:lnTo>
                    <a:pt x="1596" y="848"/>
                  </a:lnTo>
                  <a:lnTo>
                    <a:pt x="1584" y="878"/>
                  </a:lnTo>
                  <a:lnTo>
                    <a:pt x="1576" y="910"/>
                  </a:lnTo>
                  <a:lnTo>
                    <a:pt x="1572" y="942"/>
                  </a:lnTo>
                  <a:lnTo>
                    <a:pt x="1572" y="974"/>
                  </a:lnTo>
                  <a:lnTo>
                    <a:pt x="1572" y="974"/>
                  </a:lnTo>
                  <a:lnTo>
                    <a:pt x="1576" y="1008"/>
                  </a:lnTo>
                  <a:lnTo>
                    <a:pt x="1584" y="1040"/>
                  </a:lnTo>
                  <a:lnTo>
                    <a:pt x="1596" y="1072"/>
                  </a:lnTo>
                  <a:lnTo>
                    <a:pt x="1612" y="1104"/>
                  </a:lnTo>
                  <a:lnTo>
                    <a:pt x="1612" y="1104"/>
                  </a:lnTo>
                  <a:lnTo>
                    <a:pt x="1634" y="1134"/>
                  </a:lnTo>
                  <a:lnTo>
                    <a:pt x="1658" y="1166"/>
                  </a:lnTo>
                  <a:lnTo>
                    <a:pt x="1686" y="1194"/>
                  </a:lnTo>
                  <a:lnTo>
                    <a:pt x="1720" y="1222"/>
                  </a:lnTo>
                  <a:lnTo>
                    <a:pt x="1720" y="1222"/>
                  </a:lnTo>
                  <a:lnTo>
                    <a:pt x="1744" y="1240"/>
                  </a:lnTo>
                  <a:lnTo>
                    <a:pt x="1768" y="1256"/>
                  </a:lnTo>
                  <a:lnTo>
                    <a:pt x="1792" y="1268"/>
                  </a:lnTo>
                  <a:lnTo>
                    <a:pt x="1818" y="1278"/>
                  </a:lnTo>
                  <a:lnTo>
                    <a:pt x="1842" y="1286"/>
                  </a:lnTo>
                  <a:lnTo>
                    <a:pt x="1868" y="1292"/>
                  </a:lnTo>
                  <a:lnTo>
                    <a:pt x="1892" y="1296"/>
                  </a:lnTo>
                  <a:lnTo>
                    <a:pt x="1918" y="1296"/>
                  </a:lnTo>
                  <a:lnTo>
                    <a:pt x="1918" y="1296"/>
                  </a:lnTo>
                  <a:lnTo>
                    <a:pt x="1934" y="1296"/>
                  </a:lnTo>
                  <a:lnTo>
                    <a:pt x="1934" y="1296"/>
                  </a:lnTo>
                  <a:lnTo>
                    <a:pt x="1956" y="1294"/>
                  </a:lnTo>
                  <a:lnTo>
                    <a:pt x="1980" y="1290"/>
                  </a:lnTo>
                  <a:lnTo>
                    <a:pt x="2002" y="1284"/>
                  </a:lnTo>
                  <a:lnTo>
                    <a:pt x="2026" y="1276"/>
                  </a:lnTo>
                  <a:lnTo>
                    <a:pt x="2048" y="1264"/>
                  </a:lnTo>
                  <a:lnTo>
                    <a:pt x="2070" y="1252"/>
                  </a:lnTo>
                  <a:lnTo>
                    <a:pt x="2092" y="1238"/>
                  </a:lnTo>
                  <a:lnTo>
                    <a:pt x="2114" y="1222"/>
                  </a:lnTo>
                  <a:lnTo>
                    <a:pt x="2114" y="1222"/>
                  </a:lnTo>
                  <a:lnTo>
                    <a:pt x="2142" y="1196"/>
                  </a:lnTo>
                  <a:lnTo>
                    <a:pt x="2168" y="1168"/>
                  </a:lnTo>
                  <a:lnTo>
                    <a:pt x="2188" y="1140"/>
                  </a:lnTo>
                  <a:lnTo>
                    <a:pt x="2204" y="1110"/>
                  </a:lnTo>
                  <a:lnTo>
                    <a:pt x="2204" y="1110"/>
                  </a:lnTo>
                  <a:lnTo>
                    <a:pt x="2216" y="1078"/>
                  </a:lnTo>
                  <a:lnTo>
                    <a:pt x="2224" y="1048"/>
                  </a:lnTo>
                  <a:lnTo>
                    <a:pt x="2228" y="1016"/>
                  </a:lnTo>
                  <a:lnTo>
                    <a:pt x="2228" y="982"/>
                  </a:lnTo>
                  <a:lnTo>
                    <a:pt x="2228" y="982"/>
                  </a:lnTo>
                  <a:close/>
                  <a:moveTo>
                    <a:pt x="2034" y="992"/>
                  </a:moveTo>
                  <a:lnTo>
                    <a:pt x="2034" y="992"/>
                  </a:lnTo>
                  <a:lnTo>
                    <a:pt x="2016" y="966"/>
                  </a:lnTo>
                  <a:lnTo>
                    <a:pt x="1994" y="938"/>
                  </a:lnTo>
                  <a:lnTo>
                    <a:pt x="1994" y="938"/>
                  </a:lnTo>
                  <a:lnTo>
                    <a:pt x="1970" y="910"/>
                  </a:lnTo>
                  <a:lnTo>
                    <a:pt x="1944" y="884"/>
                  </a:lnTo>
                  <a:lnTo>
                    <a:pt x="1944" y="884"/>
                  </a:lnTo>
                  <a:lnTo>
                    <a:pt x="1918" y="858"/>
                  </a:lnTo>
                  <a:lnTo>
                    <a:pt x="1890" y="836"/>
                  </a:lnTo>
                  <a:lnTo>
                    <a:pt x="1890" y="836"/>
                  </a:lnTo>
                  <a:lnTo>
                    <a:pt x="1866" y="818"/>
                  </a:lnTo>
                  <a:lnTo>
                    <a:pt x="1842" y="804"/>
                  </a:lnTo>
                  <a:lnTo>
                    <a:pt x="1822" y="794"/>
                  </a:lnTo>
                  <a:lnTo>
                    <a:pt x="1800" y="788"/>
                  </a:lnTo>
                  <a:lnTo>
                    <a:pt x="1782" y="786"/>
                  </a:lnTo>
                  <a:lnTo>
                    <a:pt x="1764" y="788"/>
                  </a:lnTo>
                  <a:lnTo>
                    <a:pt x="1748" y="794"/>
                  </a:lnTo>
                  <a:lnTo>
                    <a:pt x="1734" y="804"/>
                  </a:lnTo>
                  <a:lnTo>
                    <a:pt x="1734" y="804"/>
                  </a:lnTo>
                  <a:lnTo>
                    <a:pt x="1722" y="814"/>
                  </a:lnTo>
                  <a:lnTo>
                    <a:pt x="1716" y="828"/>
                  </a:lnTo>
                  <a:lnTo>
                    <a:pt x="1712" y="842"/>
                  </a:lnTo>
                  <a:lnTo>
                    <a:pt x="1710" y="858"/>
                  </a:lnTo>
                  <a:lnTo>
                    <a:pt x="1710" y="858"/>
                  </a:lnTo>
                  <a:lnTo>
                    <a:pt x="1712" y="878"/>
                  </a:lnTo>
                  <a:lnTo>
                    <a:pt x="1716" y="896"/>
                  </a:lnTo>
                  <a:lnTo>
                    <a:pt x="1724" y="916"/>
                  </a:lnTo>
                  <a:lnTo>
                    <a:pt x="1734" y="938"/>
                  </a:lnTo>
                  <a:lnTo>
                    <a:pt x="1734" y="938"/>
                  </a:lnTo>
                  <a:lnTo>
                    <a:pt x="1746" y="960"/>
                  </a:lnTo>
                  <a:lnTo>
                    <a:pt x="1762" y="984"/>
                  </a:lnTo>
                  <a:lnTo>
                    <a:pt x="1780" y="1008"/>
                  </a:lnTo>
                  <a:lnTo>
                    <a:pt x="1800" y="1032"/>
                  </a:lnTo>
                  <a:lnTo>
                    <a:pt x="1800" y="1032"/>
                  </a:lnTo>
                  <a:lnTo>
                    <a:pt x="1822" y="1056"/>
                  </a:lnTo>
                  <a:lnTo>
                    <a:pt x="1846" y="1080"/>
                  </a:lnTo>
                  <a:lnTo>
                    <a:pt x="1872" y="1104"/>
                  </a:lnTo>
                  <a:lnTo>
                    <a:pt x="1900" y="1126"/>
                  </a:lnTo>
                  <a:lnTo>
                    <a:pt x="1900" y="1126"/>
                  </a:lnTo>
                  <a:lnTo>
                    <a:pt x="1926" y="1146"/>
                  </a:lnTo>
                  <a:lnTo>
                    <a:pt x="1950" y="1160"/>
                  </a:lnTo>
                  <a:lnTo>
                    <a:pt x="1970" y="1170"/>
                  </a:lnTo>
                  <a:lnTo>
                    <a:pt x="1990" y="1176"/>
                  </a:lnTo>
                  <a:lnTo>
                    <a:pt x="1990" y="1176"/>
                  </a:lnTo>
                  <a:lnTo>
                    <a:pt x="2008" y="1180"/>
                  </a:lnTo>
                  <a:lnTo>
                    <a:pt x="2024" y="1178"/>
                  </a:lnTo>
                  <a:lnTo>
                    <a:pt x="2040" y="1172"/>
                  </a:lnTo>
                  <a:lnTo>
                    <a:pt x="2054" y="1162"/>
                  </a:lnTo>
                  <a:lnTo>
                    <a:pt x="2054" y="1162"/>
                  </a:lnTo>
                  <a:lnTo>
                    <a:pt x="2064" y="1152"/>
                  </a:lnTo>
                  <a:lnTo>
                    <a:pt x="2072" y="1140"/>
                  </a:lnTo>
                  <a:lnTo>
                    <a:pt x="2078" y="1128"/>
                  </a:lnTo>
                  <a:lnTo>
                    <a:pt x="2080" y="1114"/>
                  </a:lnTo>
                  <a:lnTo>
                    <a:pt x="2080" y="1100"/>
                  </a:lnTo>
                  <a:lnTo>
                    <a:pt x="2078" y="1082"/>
                  </a:lnTo>
                  <a:lnTo>
                    <a:pt x="2074" y="1066"/>
                  </a:lnTo>
                  <a:lnTo>
                    <a:pt x="2066" y="1046"/>
                  </a:lnTo>
                  <a:lnTo>
                    <a:pt x="2066" y="1046"/>
                  </a:lnTo>
                  <a:lnTo>
                    <a:pt x="2052" y="1020"/>
                  </a:lnTo>
                  <a:lnTo>
                    <a:pt x="2034" y="992"/>
                  </a:lnTo>
                  <a:lnTo>
                    <a:pt x="2034" y="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 name="Datumsplatzhalter 1"/>
          <p:cNvSpPr>
            <a:spLocks noGrp="1"/>
          </p:cNvSpPr>
          <p:nvPr>
            <p:ph type="dt" sz="half" idx="10"/>
          </p:nvPr>
        </p:nvSpPr>
        <p:spPr/>
        <p:txBody>
          <a:bodyPr/>
          <a:lstStyle/>
          <a:p>
            <a:pPr>
              <a:defRPr/>
            </a:pPr>
            <a:fld id="{0AF2FA59-D3CF-4E9F-B049-4D4E2B98F49E}" type="datetime1">
              <a:rPr lang="de-DE" altLang="en-US" smtClean="0"/>
              <a:t>06.07.2021</a:t>
            </a:fld>
            <a:endParaRPr lang="de-DE" altLang="en-US"/>
          </a:p>
        </p:txBody>
      </p:sp>
      <p:sp>
        <p:nvSpPr>
          <p:cNvPr id="15" name="Fußzeilenplatzhalter 14"/>
          <p:cNvSpPr>
            <a:spLocks noGrp="1"/>
          </p:cNvSpPr>
          <p:nvPr>
            <p:ph type="ftr" sz="quarter" idx="11"/>
          </p:nvPr>
        </p:nvSpPr>
        <p:spPr/>
        <p:txBody>
          <a:bodyPr/>
          <a:lstStyle/>
          <a:p>
            <a:pPr>
              <a:defRPr/>
            </a:pPr>
            <a:r>
              <a:rPr lang="de-DE" altLang="en-US" smtClean="0"/>
              <a:t>EKHN</a:t>
            </a:r>
            <a:endParaRPr lang="de-DE" altLang="en-US"/>
          </a:p>
        </p:txBody>
      </p:sp>
      <p:sp>
        <p:nvSpPr>
          <p:cNvPr id="16" name="Foliennummernplatzhalter 15"/>
          <p:cNvSpPr>
            <a:spLocks noGrp="1"/>
          </p:cNvSpPr>
          <p:nvPr>
            <p:ph type="sldNum" sz="quarter" idx="12"/>
          </p:nvPr>
        </p:nvSpPr>
        <p:spPr/>
        <p:txBody>
          <a:bodyPr/>
          <a:lstStyle/>
          <a:p>
            <a:pPr>
              <a:defRPr/>
            </a:pPr>
            <a:fld id="{BEA88772-2E14-493F-A726-E8A7A8CFB7CD}" type="slidenum">
              <a:rPr lang="de-DE" altLang="en-US" smtClean="0"/>
              <a:pPr>
                <a:defRPr/>
              </a:pPr>
              <a:t>41</a:t>
            </a:fld>
            <a:endParaRPr lang="de-DE" altLang="en-US"/>
          </a:p>
        </p:txBody>
      </p:sp>
    </p:spTree>
    <p:extLst>
      <p:ext uri="{BB962C8B-B14F-4D97-AF65-F5344CB8AC3E}">
        <p14:creationId xmlns:p14="http://schemas.microsoft.com/office/powerpoint/2010/main" val="2475588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24830" y="1556792"/>
            <a:ext cx="11411797" cy="346720"/>
          </a:xfrm>
        </p:spPr>
        <p:txBody>
          <a:bodyPr/>
          <a:lstStyle/>
          <a:p>
            <a:r>
              <a:rPr lang="de-DE" sz="1800" dirty="0" smtClean="0">
                <a:solidFill>
                  <a:srgbClr val="572381"/>
                </a:solidFill>
              </a:rPr>
              <a:t>Wann ist der Vorsteuerabzug vorzunehmen ????</a:t>
            </a:r>
          </a:p>
          <a:p>
            <a:endParaRPr lang="de-DE" sz="1800" b="0" dirty="0">
              <a:solidFill>
                <a:srgbClr val="572381"/>
              </a:solidFill>
            </a:endParaRPr>
          </a:p>
          <a:p>
            <a:pPr marL="0" indent="0">
              <a:buNone/>
            </a:pPr>
            <a:endParaRPr lang="de-DE" sz="1800" b="0" dirty="0">
              <a:solidFill>
                <a:srgbClr val="572381"/>
              </a:solidFill>
            </a:endParaRPr>
          </a:p>
          <a:p>
            <a:endParaRPr lang="de-DE" dirty="0"/>
          </a:p>
        </p:txBody>
      </p:sp>
      <p:sp>
        <p:nvSpPr>
          <p:cNvPr id="3" name="Titel 2"/>
          <p:cNvSpPr>
            <a:spLocks noGrp="1"/>
          </p:cNvSpPr>
          <p:nvPr>
            <p:ph type="title"/>
          </p:nvPr>
        </p:nvSpPr>
        <p:spPr>
          <a:xfrm>
            <a:off x="723471" y="476672"/>
            <a:ext cx="4453887" cy="379140"/>
          </a:xfrm>
        </p:spPr>
        <p:txBody>
          <a:bodyPr/>
          <a:lstStyle/>
          <a:p>
            <a:r>
              <a:rPr lang="de-DE" dirty="0" smtClean="0">
                <a:latin typeface="Calibri" panose="020F0502020204030204" pitchFamily="34" charset="0"/>
                <a:cs typeface="Calibri" panose="020F0502020204030204" pitchFamily="34" charset="0"/>
              </a:rPr>
              <a:t>Zeitpunkt des Vorsteuerabzugs</a:t>
            </a:r>
            <a:endParaRPr lang="de-DE" dirty="0">
              <a:latin typeface="Calibri" panose="020F0502020204030204" pitchFamily="34" charset="0"/>
              <a:cs typeface="Calibri" panose="020F0502020204030204" pitchFamily="34" charset="0"/>
            </a:endParaRPr>
          </a:p>
        </p:txBody>
      </p:sp>
      <p:grpSp>
        <p:nvGrpSpPr>
          <p:cNvPr id="6" name="Group 27">
            <a:extLst>
              <a:ext uri="{FF2B5EF4-FFF2-40B4-BE49-F238E27FC236}">
                <a16:creationId xmlns:a16="http://schemas.microsoft.com/office/drawing/2014/main" xmlns="" id="{34DAF50A-E644-4AC5-9F67-C9749CF59D09}"/>
              </a:ext>
            </a:extLst>
          </p:cNvPr>
          <p:cNvGrpSpPr/>
          <p:nvPr/>
        </p:nvGrpSpPr>
        <p:grpSpPr>
          <a:xfrm>
            <a:off x="1254398" y="4046691"/>
            <a:ext cx="4138984" cy="1535512"/>
            <a:chOff x="1328222" y="4329469"/>
            <a:chExt cx="3643339" cy="1457121"/>
          </a:xfrm>
        </p:grpSpPr>
        <p:grpSp>
          <p:nvGrpSpPr>
            <p:cNvPr id="11" name="Group 31">
              <a:extLst>
                <a:ext uri="{FF2B5EF4-FFF2-40B4-BE49-F238E27FC236}">
                  <a16:creationId xmlns:a16="http://schemas.microsoft.com/office/drawing/2014/main" xmlns="" id="{1265A863-AEA7-4E97-AF9A-7539BFB42DED}"/>
                </a:ext>
              </a:extLst>
            </p:cNvPr>
            <p:cNvGrpSpPr/>
            <p:nvPr/>
          </p:nvGrpSpPr>
          <p:grpSpPr>
            <a:xfrm>
              <a:off x="1328222" y="4329469"/>
              <a:ext cx="3643339" cy="661476"/>
              <a:chOff x="824948" y="3810766"/>
              <a:chExt cx="3643339" cy="440279"/>
            </a:xfrm>
          </p:grpSpPr>
          <p:sp>
            <p:nvSpPr>
              <p:cNvPr id="13" name="Rectangle: Rounded Corners 33">
                <a:extLst>
                  <a:ext uri="{FF2B5EF4-FFF2-40B4-BE49-F238E27FC236}">
                    <a16:creationId xmlns:a16="http://schemas.microsoft.com/office/drawing/2014/main" xmlns="" id="{59175490-164D-4840-A340-4DB6BAB8237A}"/>
                  </a:ext>
                </a:extLst>
              </p:cNvPr>
              <p:cNvSpPr/>
              <p:nvPr/>
            </p:nvSpPr>
            <p:spPr>
              <a:xfrm>
                <a:off x="824948" y="3810770"/>
                <a:ext cx="614929"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14" name="Rectangle 34">
                <a:extLst>
                  <a:ext uri="{FF2B5EF4-FFF2-40B4-BE49-F238E27FC236}">
                    <a16:creationId xmlns:a16="http://schemas.microsoft.com/office/drawing/2014/main" xmlns="" id="{7C0CCE68-3419-467D-BC67-76E3A18AE96F}"/>
                  </a:ext>
                </a:extLst>
              </p:cNvPr>
              <p:cNvSpPr/>
              <p:nvPr/>
            </p:nvSpPr>
            <p:spPr>
              <a:xfrm>
                <a:off x="1368781" y="3810766"/>
                <a:ext cx="3099506" cy="44027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Die Lieferung oder sonstige Leistung ausgeführt wurde</a:t>
                </a:r>
                <a:endParaRPr lang="de-DE" sz="1600" dirty="0">
                  <a:solidFill>
                    <a:srgbClr val="572381"/>
                  </a:solidFill>
                  <a:latin typeface="Calibri" panose="020F0502020204030204" pitchFamily="34" charset="0"/>
                  <a:cs typeface="Times New Roman" panose="02020603050405020304" pitchFamily="18" charset="0"/>
                </a:endParaRPr>
              </a:p>
            </p:txBody>
          </p:sp>
        </p:grpSp>
        <p:sp>
          <p:nvSpPr>
            <p:cNvPr id="12" name="Flowchart: Process 32">
              <a:extLst>
                <a:ext uri="{FF2B5EF4-FFF2-40B4-BE49-F238E27FC236}">
                  <a16:creationId xmlns:a16="http://schemas.microsoft.com/office/drawing/2014/main" xmlns="" id="{BE356148-54A2-448E-AAE4-79B301DC6CCA}"/>
                </a:ext>
              </a:extLst>
            </p:cNvPr>
            <p:cNvSpPr/>
            <p:nvPr/>
          </p:nvSpPr>
          <p:spPr>
            <a:xfrm>
              <a:off x="1364689" y="5552939"/>
              <a:ext cx="416695" cy="233651"/>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pPr algn="ctr">
                <a:lnSpc>
                  <a:spcPct val="100000"/>
                </a:lnSpc>
              </a:pPr>
              <a:r>
                <a:rPr lang="de-DE" sz="1600" b="1" dirty="0">
                  <a:solidFill>
                    <a:schemeClr val="bg1"/>
                  </a:solidFill>
                  <a:latin typeface="Calibri" panose="020F0502020204030204" pitchFamily="34" charset="0"/>
                  <a:cs typeface="Calibri" panose="020F0502020204030204" pitchFamily="34" charset="0"/>
                </a:rPr>
                <a:t>IV</a:t>
              </a:r>
            </a:p>
          </p:txBody>
        </p:sp>
      </p:grpSp>
      <p:grpSp>
        <p:nvGrpSpPr>
          <p:cNvPr id="28" name="Group 27">
            <a:extLst>
              <a:ext uri="{FF2B5EF4-FFF2-40B4-BE49-F238E27FC236}">
                <a16:creationId xmlns:a16="http://schemas.microsoft.com/office/drawing/2014/main" xmlns="" id="{34DAF50A-E644-4AC5-9F67-C9749CF59D09}"/>
              </a:ext>
            </a:extLst>
          </p:cNvPr>
          <p:cNvGrpSpPr/>
          <p:nvPr/>
        </p:nvGrpSpPr>
        <p:grpSpPr>
          <a:xfrm>
            <a:off x="2585070" y="2150306"/>
            <a:ext cx="6336704" cy="1638734"/>
            <a:chOff x="1328222" y="4329469"/>
            <a:chExt cx="3143273" cy="1457121"/>
          </a:xfrm>
        </p:grpSpPr>
        <p:grpSp>
          <p:nvGrpSpPr>
            <p:cNvPr id="31" name="Group 31">
              <a:extLst>
                <a:ext uri="{FF2B5EF4-FFF2-40B4-BE49-F238E27FC236}">
                  <a16:creationId xmlns:a16="http://schemas.microsoft.com/office/drawing/2014/main" xmlns="" id="{1265A863-AEA7-4E97-AF9A-7539BFB42DED}"/>
                </a:ext>
              </a:extLst>
            </p:cNvPr>
            <p:cNvGrpSpPr/>
            <p:nvPr/>
          </p:nvGrpSpPr>
          <p:grpSpPr>
            <a:xfrm>
              <a:off x="1328222" y="4329469"/>
              <a:ext cx="3143273" cy="661476"/>
              <a:chOff x="824948" y="3810766"/>
              <a:chExt cx="3143273" cy="440279"/>
            </a:xfrm>
          </p:grpSpPr>
          <p:sp>
            <p:nvSpPr>
              <p:cNvPr id="33" name="Rectangle: Rounded Corners 33">
                <a:extLst>
                  <a:ext uri="{FF2B5EF4-FFF2-40B4-BE49-F238E27FC236}">
                    <a16:creationId xmlns:a16="http://schemas.microsoft.com/office/drawing/2014/main" xmlns="" id="{59175490-164D-4840-A340-4DB6BAB8237A}"/>
                  </a:ext>
                </a:extLst>
              </p:cNvPr>
              <p:cNvSpPr/>
              <p:nvPr/>
            </p:nvSpPr>
            <p:spPr>
              <a:xfrm>
                <a:off x="824948" y="3810770"/>
                <a:ext cx="614929"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34" name="Rectangle 34">
                <a:extLst>
                  <a:ext uri="{FF2B5EF4-FFF2-40B4-BE49-F238E27FC236}">
                    <a16:creationId xmlns:a16="http://schemas.microsoft.com/office/drawing/2014/main" xmlns="" id="{7C0CCE68-3419-467D-BC67-76E3A18AE96F}"/>
                  </a:ext>
                </a:extLst>
              </p:cNvPr>
              <p:cNvSpPr/>
              <p:nvPr/>
            </p:nvSpPr>
            <p:spPr>
              <a:xfrm>
                <a:off x="1368781" y="3810766"/>
                <a:ext cx="2599440" cy="44027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Gesondert in Rechnung gestellte Umsatzsteuer, die an das Unternehmen ausgeführt worden sind, sind in dem </a:t>
                </a:r>
                <a:r>
                  <a:rPr lang="de-DE" sz="1600" b="1" dirty="0" smtClean="0">
                    <a:solidFill>
                      <a:srgbClr val="572381"/>
                    </a:solidFill>
                    <a:latin typeface="Calibri" panose="020F0502020204030204" pitchFamily="34" charset="0"/>
                    <a:cs typeface="Times New Roman" panose="02020603050405020304" pitchFamily="18" charset="0"/>
                  </a:rPr>
                  <a:t>Voranmeldungszeitraum</a:t>
                </a:r>
                <a:r>
                  <a:rPr lang="de-DE" sz="1600" dirty="0" smtClean="0">
                    <a:solidFill>
                      <a:srgbClr val="572381"/>
                    </a:solidFill>
                    <a:latin typeface="Calibri" panose="020F0502020204030204" pitchFamily="34" charset="0"/>
                    <a:cs typeface="Times New Roman" panose="02020603050405020304" pitchFamily="18" charset="0"/>
                  </a:rPr>
                  <a:t> abzuziehen, in dem</a:t>
                </a:r>
                <a:endParaRPr lang="de-DE" sz="1600" dirty="0">
                  <a:solidFill>
                    <a:srgbClr val="572381"/>
                  </a:solidFill>
                  <a:latin typeface="Calibri" panose="020F0502020204030204" pitchFamily="34" charset="0"/>
                  <a:cs typeface="Times New Roman" panose="02020603050405020304" pitchFamily="18" charset="0"/>
                </a:endParaRPr>
              </a:p>
            </p:txBody>
          </p:sp>
        </p:grpSp>
        <p:sp>
          <p:nvSpPr>
            <p:cNvPr id="32" name="Flowchart: Process 32">
              <a:extLst>
                <a:ext uri="{FF2B5EF4-FFF2-40B4-BE49-F238E27FC236}">
                  <a16:creationId xmlns:a16="http://schemas.microsoft.com/office/drawing/2014/main" xmlns="" id="{BE356148-54A2-448E-AAE4-79B301DC6CCA}"/>
                </a:ext>
              </a:extLst>
            </p:cNvPr>
            <p:cNvSpPr/>
            <p:nvPr/>
          </p:nvSpPr>
          <p:spPr>
            <a:xfrm>
              <a:off x="1364689" y="5552939"/>
              <a:ext cx="416695" cy="233651"/>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pPr algn="ctr">
                <a:lnSpc>
                  <a:spcPct val="100000"/>
                </a:lnSpc>
              </a:pPr>
              <a:r>
                <a:rPr lang="de-DE" sz="1600" b="1" dirty="0">
                  <a:solidFill>
                    <a:schemeClr val="bg1"/>
                  </a:solidFill>
                  <a:latin typeface="Calibri" panose="020F0502020204030204" pitchFamily="34" charset="0"/>
                  <a:cs typeface="Calibri" panose="020F0502020204030204" pitchFamily="34" charset="0"/>
                </a:rPr>
                <a:t>IV</a:t>
              </a:r>
            </a:p>
          </p:txBody>
        </p:sp>
      </p:grpSp>
      <p:grpSp>
        <p:nvGrpSpPr>
          <p:cNvPr id="35" name="Group 71">
            <a:extLst>
              <a:ext uri="{FF2B5EF4-FFF2-40B4-BE49-F238E27FC236}">
                <a16:creationId xmlns:a16="http://schemas.microsoft.com/office/drawing/2014/main" xmlns="" id="{4A8E2ABF-464A-4B22-AE3C-5B495D196D8E}"/>
              </a:ext>
            </a:extLst>
          </p:cNvPr>
          <p:cNvGrpSpPr/>
          <p:nvPr/>
        </p:nvGrpSpPr>
        <p:grpSpPr>
          <a:xfrm>
            <a:off x="6003134" y="4010057"/>
            <a:ext cx="4536502" cy="733696"/>
            <a:chOff x="5896266" y="5402891"/>
            <a:chExt cx="1964467" cy="696239"/>
          </a:xfrm>
        </p:grpSpPr>
        <p:sp>
          <p:nvSpPr>
            <p:cNvPr id="40" name="Flowchart: Process 32">
              <a:extLst>
                <a:ext uri="{FF2B5EF4-FFF2-40B4-BE49-F238E27FC236}">
                  <a16:creationId xmlns:a16="http://schemas.microsoft.com/office/drawing/2014/main" xmlns="" id="{BE356148-54A2-448E-AAE4-79B301DC6CCA}"/>
                </a:ext>
              </a:extLst>
            </p:cNvPr>
            <p:cNvSpPr/>
            <p:nvPr/>
          </p:nvSpPr>
          <p:spPr>
            <a:xfrm>
              <a:off x="5912496" y="5661535"/>
              <a:ext cx="185450" cy="233651"/>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pPr algn="ctr">
                <a:lnSpc>
                  <a:spcPct val="100000"/>
                </a:lnSpc>
              </a:pPr>
              <a:r>
                <a:rPr lang="de-DE" sz="1600" b="1" dirty="0">
                  <a:solidFill>
                    <a:schemeClr val="bg1"/>
                  </a:solidFill>
                  <a:latin typeface="Calibri" panose="020F0502020204030204" pitchFamily="34" charset="0"/>
                  <a:cs typeface="Calibri" panose="020F0502020204030204" pitchFamily="34" charset="0"/>
                </a:rPr>
                <a:t>IV</a:t>
              </a:r>
            </a:p>
          </p:txBody>
        </p:sp>
        <p:sp>
          <p:nvSpPr>
            <p:cNvPr id="37" name="Rectangle: Rounded Corners 51">
              <a:extLst>
                <a:ext uri="{FF2B5EF4-FFF2-40B4-BE49-F238E27FC236}">
                  <a16:creationId xmlns:a16="http://schemas.microsoft.com/office/drawing/2014/main" xmlns="" id="{48761863-2019-4B80-ADC2-2A87371192C9}"/>
                </a:ext>
              </a:extLst>
            </p:cNvPr>
            <p:cNvSpPr/>
            <p:nvPr/>
          </p:nvSpPr>
          <p:spPr>
            <a:xfrm>
              <a:off x="5896266" y="5402892"/>
              <a:ext cx="273674" cy="696238"/>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38" name="Rectangle 52">
              <a:extLst>
                <a:ext uri="{FF2B5EF4-FFF2-40B4-BE49-F238E27FC236}">
                  <a16:creationId xmlns:a16="http://schemas.microsoft.com/office/drawing/2014/main" xmlns="" id="{ABB4241E-0D39-475E-AD11-440B7DD6B01F}"/>
                </a:ext>
              </a:extLst>
            </p:cNvPr>
            <p:cNvSpPr/>
            <p:nvPr/>
          </p:nvSpPr>
          <p:spPr>
            <a:xfrm>
              <a:off x="6138299" y="5402891"/>
              <a:ext cx="1722434" cy="696238"/>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dirty="0" smtClean="0">
                  <a:solidFill>
                    <a:srgbClr val="572381"/>
                  </a:solidFill>
                  <a:latin typeface="Calibri" panose="020F0502020204030204" pitchFamily="34" charset="0"/>
                  <a:cs typeface="Times New Roman" panose="02020603050405020304" pitchFamily="18" charset="0"/>
                </a:rPr>
                <a:t>Die nach den §14, §14a UStG ausgestellte Rechnung mit gesondertem Steuerausweis dem Unternehmer vorliegt</a:t>
              </a:r>
              <a:endParaRPr lang="de-DE" sz="1600" dirty="0">
                <a:solidFill>
                  <a:srgbClr val="572381"/>
                </a:solidFill>
                <a:latin typeface="Calibri" panose="020F0502020204030204" pitchFamily="34" charset="0"/>
                <a:cs typeface="Times New Roman" panose="02020603050405020304" pitchFamily="18" charset="0"/>
              </a:endParaRPr>
            </a:p>
          </p:txBody>
        </p:sp>
      </p:grpSp>
      <p:cxnSp>
        <p:nvCxnSpPr>
          <p:cNvPr id="43" name="Straight Connector 44">
            <a:extLst>
              <a:ext uri="{FF2B5EF4-FFF2-40B4-BE49-F238E27FC236}">
                <a16:creationId xmlns:a16="http://schemas.microsoft.com/office/drawing/2014/main" xmlns="" id="{575CEE4D-DA38-41DB-BC3D-67E83FB86042}"/>
              </a:ext>
            </a:extLst>
          </p:cNvPr>
          <p:cNvCxnSpPr>
            <a:cxnSpLocks/>
            <a:stCxn id="14" idx="0"/>
            <a:endCxn id="34" idx="2"/>
          </p:cNvCxnSpPr>
          <p:nvPr/>
        </p:nvCxnSpPr>
        <p:spPr>
          <a:xfrm flipV="1">
            <a:off x="3632799" y="2894227"/>
            <a:ext cx="2668795" cy="1152464"/>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xmlns="" id="{575CEE4D-DA38-41DB-BC3D-67E83FB86042}"/>
              </a:ext>
            </a:extLst>
          </p:cNvPr>
          <p:cNvCxnSpPr>
            <a:cxnSpLocks/>
            <a:stCxn id="38" idx="0"/>
            <a:endCxn id="34" idx="2"/>
          </p:cNvCxnSpPr>
          <p:nvPr/>
        </p:nvCxnSpPr>
        <p:spPr>
          <a:xfrm flipH="1" flipV="1">
            <a:off x="6301594" y="2894227"/>
            <a:ext cx="2249252" cy="111583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nvGrpSpPr>
          <p:cNvPr id="50" name="Group 27">
            <a:extLst>
              <a:ext uri="{FF2B5EF4-FFF2-40B4-BE49-F238E27FC236}">
                <a16:creationId xmlns:a16="http://schemas.microsoft.com/office/drawing/2014/main" xmlns="" id="{34DAF50A-E644-4AC5-9F67-C9749CF59D09}"/>
              </a:ext>
            </a:extLst>
          </p:cNvPr>
          <p:cNvGrpSpPr/>
          <p:nvPr/>
        </p:nvGrpSpPr>
        <p:grpSpPr>
          <a:xfrm>
            <a:off x="2872262" y="5335982"/>
            <a:ext cx="6336704" cy="1638734"/>
            <a:chOff x="1328222" y="4329469"/>
            <a:chExt cx="3143273" cy="1457121"/>
          </a:xfrm>
        </p:grpSpPr>
        <p:grpSp>
          <p:nvGrpSpPr>
            <p:cNvPr id="51" name="Group 31">
              <a:extLst>
                <a:ext uri="{FF2B5EF4-FFF2-40B4-BE49-F238E27FC236}">
                  <a16:creationId xmlns:a16="http://schemas.microsoft.com/office/drawing/2014/main" xmlns="" id="{1265A863-AEA7-4E97-AF9A-7539BFB42DED}"/>
                </a:ext>
              </a:extLst>
            </p:cNvPr>
            <p:cNvGrpSpPr/>
            <p:nvPr/>
          </p:nvGrpSpPr>
          <p:grpSpPr>
            <a:xfrm>
              <a:off x="1328222" y="4329469"/>
              <a:ext cx="3143273" cy="661476"/>
              <a:chOff x="824948" y="3810766"/>
              <a:chExt cx="3143273" cy="440279"/>
            </a:xfrm>
          </p:grpSpPr>
          <p:sp>
            <p:nvSpPr>
              <p:cNvPr id="53" name="Rectangle: Rounded Corners 33">
                <a:extLst>
                  <a:ext uri="{FF2B5EF4-FFF2-40B4-BE49-F238E27FC236}">
                    <a16:creationId xmlns:a16="http://schemas.microsoft.com/office/drawing/2014/main" xmlns="" id="{59175490-164D-4840-A340-4DB6BAB8237A}"/>
                  </a:ext>
                </a:extLst>
              </p:cNvPr>
              <p:cNvSpPr/>
              <p:nvPr/>
            </p:nvSpPr>
            <p:spPr>
              <a:xfrm>
                <a:off x="824948" y="3810770"/>
                <a:ext cx="614929" cy="440275"/>
              </a:xfrm>
              <a:prstGeom prst="roundRect">
                <a:avLst>
                  <a:gd name="adj" fmla="val 1180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p>
            </p:txBody>
          </p:sp>
          <p:sp>
            <p:nvSpPr>
              <p:cNvPr id="54" name="Rectangle 34">
                <a:extLst>
                  <a:ext uri="{FF2B5EF4-FFF2-40B4-BE49-F238E27FC236}">
                    <a16:creationId xmlns:a16="http://schemas.microsoft.com/office/drawing/2014/main" xmlns="" id="{7C0CCE68-3419-467D-BC67-76E3A18AE96F}"/>
                  </a:ext>
                </a:extLst>
              </p:cNvPr>
              <p:cNvSpPr/>
              <p:nvPr/>
            </p:nvSpPr>
            <p:spPr>
              <a:xfrm>
                <a:off x="1368781" y="3810766"/>
                <a:ext cx="2599440" cy="44027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77800">
                  <a:lnSpc>
                    <a:spcPct val="100000"/>
                  </a:lnSpc>
                </a:pPr>
                <a:r>
                  <a:rPr lang="de-DE" sz="1600" b="1" dirty="0" smtClean="0">
                    <a:solidFill>
                      <a:srgbClr val="572381"/>
                    </a:solidFill>
                    <a:latin typeface="Calibri" panose="020F0502020204030204" pitchFamily="34" charset="0"/>
                    <a:cs typeface="Times New Roman" panose="02020603050405020304" pitchFamily="18" charset="0"/>
                  </a:rPr>
                  <a:t>Beide Voraussetzungen müssen gegeben sein</a:t>
                </a:r>
                <a:endParaRPr lang="de-DE" sz="1600" b="1" dirty="0">
                  <a:solidFill>
                    <a:srgbClr val="572381"/>
                  </a:solidFill>
                  <a:latin typeface="Calibri" panose="020F0502020204030204" pitchFamily="34" charset="0"/>
                  <a:cs typeface="Times New Roman" panose="02020603050405020304" pitchFamily="18" charset="0"/>
                </a:endParaRPr>
              </a:p>
            </p:txBody>
          </p:sp>
        </p:grpSp>
        <p:sp>
          <p:nvSpPr>
            <p:cNvPr id="52" name="Flowchart: Process 32">
              <a:extLst>
                <a:ext uri="{FF2B5EF4-FFF2-40B4-BE49-F238E27FC236}">
                  <a16:creationId xmlns:a16="http://schemas.microsoft.com/office/drawing/2014/main" xmlns="" id="{BE356148-54A2-448E-AAE4-79B301DC6CCA}"/>
                </a:ext>
              </a:extLst>
            </p:cNvPr>
            <p:cNvSpPr/>
            <p:nvPr/>
          </p:nvSpPr>
          <p:spPr>
            <a:xfrm>
              <a:off x="1364689" y="5552939"/>
              <a:ext cx="416695" cy="233651"/>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pPr algn="ctr">
                <a:lnSpc>
                  <a:spcPct val="100000"/>
                </a:lnSpc>
              </a:pPr>
              <a:r>
                <a:rPr lang="de-DE" sz="1600" b="1" dirty="0">
                  <a:solidFill>
                    <a:schemeClr val="bg1"/>
                  </a:solidFill>
                  <a:latin typeface="Calibri" panose="020F0502020204030204" pitchFamily="34" charset="0"/>
                  <a:cs typeface="Calibri" panose="020F0502020204030204" pitchFamily="34" charset="0"/>
                </a:rPr>
                <a:t>IV</a:t>
              </a:r>
            </a:p>
          </p:txBody>
        </p:sp>
      </p:grpSp>
      <p:pic>
        <p:nvPicPr>
          <p:cNvPr id="55" name="Grafik 54"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72215" y="5162119"/>
            <a:ext cx="1395056" cy="917784"/>
          </a:xfrm>
          <a:prstGeom prst="rect">
            <a:avLst/>
          </a:prstGeom>
        </p:spPr>
      </p:pic>
      <p:pic>
        <p:nvPicPr>
          <p:cNvPr id="56" name="Grafik 55"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93782" y="5164616"/>
            <a:ext cx="1395056" cy="917784"/>
          </a:xfrm>
          <a:prstGeom prst="rect">
            <a:avLst/>
          </a:prstGeom>
        </p:spPr>
      </p:pic>
      <p:sp>
        <p:nvSpPr>
          <p:cNvPr id="2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4" name="Datumsplatzhalter 3"/>
          <p:cNvSpPr>
            <a:spLocks noGrp="1"/>
          </p:cNvSpPr>
          <p:nvPr>
            <p:ph type="dt" sz="half" idx="10"/>
          </p:nvPr>
        </p:nvSpPr>
        <p:spPr/>
        <p:txBody>
          <a:bodyPr/>
          <a:lstStyle/>
          <a:p>
            <a:pPr>
              <a:defRPr/>
            </a:pPr>
            <a:fld id="{ADB56992-259F-47F7-BE88-7E43C51907B1}"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7" name="Foliennummernplatzhalter 6"/>
          <p:cNvSpPr>
            <a:spLocks noGrp="1"/>
          </p:cNvSpPr>
          <p:nvPr>
            <p:ph type="sldNum" sz="quarter" idx="12"/>
          </p:nvPr>
        </p:nvSpPr>
        <p:spPr/>
        <p:txBody>
          <a:bodyPr/>
          <a:lstStyle/>
          <a:p>
            <a:pPr>
              <a:defRPr/>
            </a:pPr>
            <a:fld id="{BEA88772-2E14-493F-A726-E8A7A8CFB7CD}" type="slidenum">
              <a:rPr lang="de-DE" altLang="en-US" smtClean="0"/>
              <a:pPr>
                <a:defRPr/>
              </a:pPr>
              <a:t>42</a:t>
            </a:fld>
            <a:endParaRPr lang="de-DE" altLang="en-US" dirty="0"/>
          </a:p>
        </p:txBody>
      </p:sp>
    </p:spTree>
    <p:extLst>
      <p:ext uri="{BB962C8B-B14F-4D97-AF65-F5344CB8AC3E}">
        <p14:creationId xmlns:p14="http://schemas.microsoft.com/office/powerpoint/2010/main" val="394988760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955790" y="1844824"/>
            <a:ext cx="10863571" cy="4174976"/>
          </a:xfrm>
        </p:spPr>
        <p:txBody>
          <a:bodyPr/>
          <a:lstStyle/>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Sind die beiden Voraussetzungen nicht gleichzeitig gegeben, </a:t>
            </a:r>
            <a:r>
              <a:rPr lang="de-DE" sz="1800" b="0" dirty="0" smtClean="0">
                <a:solidFill>
                  <a:srgbClr val="572381"/>
                </a:solidFill>
                <a:latin typeface="Calibri" panose="020F0502020204030204" pitchFamily="34" charset="0"/>
                <a:cs typeface="Calibri" panose="020F0502020204030204" pitchFamily="34" charset="0"/>
              </a:rPr>
              <a:t>kann der </a:t>
            </a:r>
            <a:r>
              <a:rPr lang="de-DE" sz="1800" b="0" dirty="0">
                <a:solidFill>
                  <a:srgbClr val="572381"/>
                </a:solidFill>
                <a:latin typeface="Calibri" panose="020F0502020204030204" pitchFamily="34" charset="0"/>
                <a:cs typeface="Calibri" panose="020F0502020204030204" pitchFamily="34" charset="0"/>
              </a:rPr>
              <a:t>Vorsteuerabzug erst für den Besteuerungszeitraum vorgenommen werden, in dem erstmals beide Voraussetzungen erfüllt sind</a:t>
            </a:r>
            <a:r>
              <a:rPr lang="de-DE" sz="1800" b="0" dirty="0" smtClean="0">
                <a:solidFill>
                  <a:srgbClr val="572381"/>
                </a:solidFill>
                <a:latin typeface="Calibri" panose="020F0502020204030204" pitchFamily="34" charset="0"/>
                <a:cs typeface="Calibri" panose="020F0502020204030204" pitchFamily="34" charset="0"/>
              </a:rPr>
              <a:t>.</a:t>
            </a:r>
          </a:p>
          <a:p>
            <a:endParaRPr lang="de-DE" sz="1800" b="0" dirty="0">
              <a:solidFill>
                <a:srgbClr val="572381"/>
              </a:solidFill>
              <a:latin typeface="Calibri" panose="020F0502020204030204" pitchFamily="34" charset="0"/>
              <a:cs typeface="Calibri" panose="020F0502020204030204" pitchFamily="34" charset="0"/>
            </a:endParaRPr>
          </a:p>
          <a:p>
            <a:pPr>
              <a:spcBef>
                <a:spcPts val="0"/>
              </a:spcBef>
              <a:buFont typeface="Symbol" panose="05050102010706020507" pitchFamily="18" charset="2"/>
              <a:buChar char="-"/>
            </a:pPr>
            <a:r>
              <a:rPr lang="de-DE" sz="1800" dirty="0">
                <a:solidFill>
                  <a:srgbClr val="572381"/>
                </a:solidFill>
                <a:latin typeface="Calibri" panose="020F0502020204030204" pitchFamily="34" charset="0"/>
                <a:cs typeface="Calibri" panose="020F0502020204030204" pitchFamily="34" charset="0"/>
              </a:rPr>
              <a:t>Bsp.:</a:t>
            </a:r>
          </a:p>
          <a:p>
            <a:pPr marL="0" indent="0">
              <a:spcBef>
                <a:spcPts val="0"/>
              </a:spcBef>
              <a:buNone/>
              <a:tabLst>
                <a:tab pos="801688" algn="l"/>
                <a:tab pos="989013" algn="l"/>
              </a:tabLst>
            </a:pPr>
            <a:r>
              <a:rPr lang="de-DE" sz="1800" b="0" dirty="0">
                <a:solidFill>
                  <a:srgbClr val="572381"/>
                </a:solidFill>
                <a:latin typeface="Calibri" panose="020F0502020204030204" pitchFamily="34" charset="0"/>
                <a:cs typeface="Calibri" panose="020F0502020204030204" pitchFamily="34" charset="0"/>
              </a:rPr>
              <a:t>     </a:t>
            </a:r>
            <a:r>
              <a:rPr lang="de-DE" sz="1800" b="0" dirty="0" smtClean="0">
                <a:solidFill>
                  <a:srgbClr val="572381"/>
                </a:solidFill>
                <a:latin typeface="Calibri" panose="020F0502020204030204" pitchFamily="34" charset="0"/>
                <a:cs typeface="Calibri" panose="020F0502020204030204" pitchFamily="34" charset="0"/>
              </a:rPr>
              <a:t>	Die </a:t>
            </a:r>
            <a:r>
              <a:rPr lang="de-DE" sz="1800" b="0" dirty="0">
                <a:solidFill>
                  <a:srgbClr val="572381"/>
                </a:solidFill>
                <a:latin typeface="Calibri" panose="020F0502020204030204" pitchFamily="34" charset="0"/>
                <a:cs typeface="Calibri" panose="020F0502020204030204" pitchFamily="34" charset="0"/>
              </a:rPr>
              <a:t>Kirchengemeinde erhält eine Leistung, die an Sie im </a:t>
            </a:r>
            <a:r>
              <a:rPr lang="de-DE" sz="1800" dirty="0">
                <a:solidFill>
                  <a:srgbClr val="572381"/>
                </a:solidFill>
                <a:latin typeface="Calibri" panose="020F0502020204030204" pitchFamily="34" charset="0"/>
                <a:cs typeface="Calibri" panose="020F0502020204030204" pitchFamily="34" charset="0"/>
              </a:rPr>
              <a:t>Dezember 00 </a:t>
            </a:r>
            <a:r>
              <a:rPr lang="de-DE" sz="1800" b="0" dirty="0">
                <a:solidFill>
                  <a:srgbClr val="572381"/>
                </a:solidFill>
                <a:latin typeface="Calibri" panose="020F0502020204030204" pitchFamily="34" charset="0"/>
                <a:cs typeface="Calibri" panose="020F0502020204030204" pitchFamily="34" charset="0"/>
              </a:rPr>
              <a:t>ausgeführt wurde, die Rechnung </a:t>
            </a:r>
            <a:r>
              <a:rPr lang="de-DE" sz="1800" b="0" dirty="0" smtClean="0">
                <a:solidFill>
                  <a:srgbClr val="572381"/>
                </a:solidFill>
                <a:latin typeface="Calibri" panose="020F0502020204030204" pitchFamily="34" charset="0"/>
                <a:cs typeface="Calibri" panose="020F0502020204030204" pitchFamily="34" charset="0"/>
              </a:rPr>
              <a:t>	mit gesondertem Steuerausweis </a:t>
            </a:r>
            <a:r>
              <a:rPr lang="de-DE" sz="1800" b="0" dirty="0">
                <a:solidFill>
                  <a:srgbClr val="572381"/>
                </a:solidFill>
                <a:latin typeface="Calibri" panose="020F0502020204030204" pitchFamily="34" charset="0"/>
                <a:cs typeface="Calibri" panose="020F0502020204030204" pitchFamily="34" charset="0"/>
              </a:rPr>
              <a:t>kam erst im </a:t>
            </a:r>
            <a:r>
              <a:rPr lang="de-DE" sz="1800" dirty="0">
                <a:solidFill>
                  <a:srgbClr val="572381"/>
                </a:solidFill>
                <a:latin typeface="Calibri" panose="020F0502020204030204" pitchFamily="34" charset="0"/>
                <a:cs typeface="Calibri" panose="020F0502020204030204" pitchFamily="34" charset="0"/>
              </a:rPr>
              <a:t>Januar 01</a:t>
            </a:r>
            <a:r>
              <a:rPr lang="de-DE" sz="1800" b="0" dirty="0">
                <a:solidFill>
                  <a:srgbClr val="572381"/>
                </a:solidFill>
                <a:latin typeface="Calibri" panose="020F0502020204030204" pitchFamily="34" charset="0"/>
                <a:cs typeface="Calibri" panose="020F0502020204030204" pitchFamily="34" charset="0"/>
              </a:rPr>
              <a:t>. </a:t>
            </a:r>
          </a:p>
          <a:p>
            <a:pPr marL="0" indent="0">
              <a:spcBef>
                <a:spcPts val="0"/>
              </a:spcBef>
              <a:buNone/>
              <a:tabLst>
                <a:tab pos="801688" algn="l"/>
              </a:tabLst>
            </a:pPr>
            <a:r>
              <a:rPr lang="de-DE" sz="1800" b="0" dirty="0" smtClean="0">
                <a:solidFill>
                  <a:srgbClr val="572381"/>
                </a:solidFill>
                <a:latin typeface="Calibri" panose="020F0502020204030204" pitchFamily="34" charset="0"/>
                <a:cs typeface="Calibri" panose="020F0502020204030204" pitchFamily="34" charset="0"/>
              </a:rPr>
              <a:t>	Beide Voraussetzungen </a:t>
            </a:r>
            <a:r>
              <a:rPr lang="de-DE" sz="1800" b="0" dirty="0">
                <a:solidFill>
                  <a:srgbClr val="572381"/>
                </a:solidFill>
                <a:latin typeface="Calibri" panose="020F0502020204030204" pitchFamily="34" charset="0"/>
                <a:cs typeface="Calibri" panose="020F0502020204030204" pitchFamily="34" charset="0"/>
              </a:rPr>
              <a:t>sind mit Ablauf des VAZ </a:t>
            </a:r>
            <a:r>
              <a:rPr lang="de-DE" sz="1800" dirty="0">
                <a:solidFill>
                  <a:srgbClr val="572381"/>
                </a:solidFill>
                <a:latin typeface="Calibri" panose="020F0502020204030204" pitchFamily="34" charset="0"/>
                <a:cs typeface="Calibri" panose="020F0502020204030204" pitchFamily="34" charset="0"/>
              </a:rPr>
              <a:t>Januar </a:t>
            </a:r>
            <a:r>
              <a:rPr lang="de-DE" sz="1800" dirty="0" smtClean="0">
                <a:solidFill>
                  <a:srgbClr val="572381"/>
                </a:solidFill>
                <a:latin typeface="Calibri" panose="020F0502020204030204" pitchFamily="34" charset="0"/>
                <a:cs typeface="Calibri" panose="020F0502020204030204" pitchFamily="34" charset="0"/>
              </a:rPr>
              <a:t>01 </a:t>
            </a:r>
            <a:r>
              <a:rPr lang="de-DE" sz="1800" b="0" dirty="0">
                <a:solidFill>
                  <a:srgbClr val="572381"/>
                </a:solidFill>
                <a:latin typeface="Calibri" panose="020F0502020204030204" pitchFamily="34" charset="0"/>
                <a:cs typeface="Calibri" panose="020F0502020204030204" pitchFamily="34" charset="0"/>
              </a:rPr>
              <a:t>bzw. </a:t>
            </a:r>
            <a:r>
              <a:rPr lang="de-DE" sz="1800" dirty="0">
                <a:solidFill>
                  <a:srgbClr val="572381"/>
                </a:solidFill>
                <a:latin typeface="Calibri" panose="020F0502020204030204" pitchFamily="34" charset="0"/>
                <a:cs typeface="Calibri" panose="020F0502020204030204" pitchFamily="34" charset="0"/>
              </a:rPr>
              <a:t>1. Quartal 01 </a:t>
            </a:r>
            <a:r>
              <a:rPr lang="de-DE" sz="1800" b="0" dirty="0" smtClean="0">
                <a:solidFill>
                  <a:srgbClr val="572381"/>
                </a:solidFill>
                <a:latin typeface="Calibri" panose="020F0502020204030204" pitchFamily="34" charset="0"/>
                <a:cs typeface="Calibri" panose="020F0502020204030204" pitchFamily="34" charset="0"/>
              </a:rPr>
              <a:t>erfüllt</a:t>
            </a:r>
          </a:p>
          <a:p>
            <a:pPr marL="0" indent="0">
              <a:spcBef>
                <a:spcPts val="0"/>
              </a:spcBef>
              <a:buNone/>
              <a:tabLst>
                <a:tab pos="801688" algn="l"/>
              </a:tabLst>
            </a:pPr>
            <a:endParaRPr lang="de-DE" sz="1800" b="0" dirty="0">
              <a:solidFill>
                <a:srgbClr val="572381"/>
              </a:solidFill>
              <a:latin typeface="Calibri" panose="020F0502020204030204" pitchFamily="34" charset="0"/>
              <a:cs typeface="Calibri" panose="020F0502020204030204" pitchFamily="34" charset="0"/>
            </a:endParaRPr>
          </a:p>
          <a:p>
            <a:pPr>
              <a:spcBef>
                <a:spcPts val="0"/>
              </a:spcBef>
              <a:buFont typeface="Symbol" panose="05050102010706020507" pitchFamily="18" charset="2"/>
              <a:buChar char="-"/>
              <a:tabLst>
                <a:tab pos="801688" algn="l"/>
              </a:tabLst>
            </a:pPr>
            <a:r>
              <a:rPr lang="de-DE" sz="1800" dirty="0" smtClean="0">
                <a:solidFill>
                  <a:srgbClr val="572381"/>
                </a:solidFill>
                <a:latin typeface="Calibri" panose="020F0502020204030204" pitchFamily="34" charset="0"/>
                <a:cs typeface="Calibri" panose="020F0502020204030204" pitchFamily="34" charset="0"/>
              </a:rPr>
              <a:t>Merke: </a:t>
            </a:r>
          </a:p>
          <a:p>
            <a:pPr marL="0" indent="0">
              <a:spcBef>
                <a:spcPts val="0"/>
              </a:spcBef>
              <a:buNone/>
              <a:tabLst>
                <a:tab pos="801688" algn="l"/>
              </a:tabLst>
            </a:pPr>
            <a:r>
              <a:rPr lang="de-DE" sz="1800" b="0" dirty="0" smtClean="0">
                <a:solidFill>
                  <a:srgbClr val="572381"/>
                </a:solidFill>
                <a:latin typeface="Calibri" panose="020F0502020204030204" pitchFamily="34" charset="0"/>
                <a:cs typeface="Calibri" panose="020F0502020204030204" pitchFamily="34" charset="0"/>
              </a:rPr>
              <a:t>	Auch bei Versteuerung der Umsätze nach vereinnahmten Entgelten ist der Vorsteuerabzug im 	Voranmeldungszeitraum des Leistungsbezugs und Rechnungserhalts vorzunehmen!</a:t>
            </a:r>
            <a:endParaRPr lang="de-DE" sz="1800" b="0" dirty="0">
              <a:solidFill>
                <a:srgbClr val="572381"/>
              </a:solidFill>
              <a:latin typeface="Calibri" panose="020F0502020204030204" pitchFamily="34" charset="0"/>
              <a:cs typeface="Calibri" panose="020F0502020204030204" pitchFamily="34" charset="0"/>
            </a:endParaRPr>
          </a:p>
        </p:txBody>
      </p:sp>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43</a:t>
            </a:fld>
            <a:endParaRPr lang="de-DE" altLang="en-US"/>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Vorsteuer</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8" name="Titel 2"/>
          <p:cNvSpPr>
            <a:spLocks noGrp="1"/>
          </p:cNvSpPr>
          <p:nvPr>
            <p:ph type="title"/>
          </p:nvPr>
        </p:nvSpPr>
        <p:spPr>
          <a:xfrm>
            <a:off x="723471" y="476672"/>
            <a:ext cx="4453887" cy="379140"/>
          </a:xfrm>
        </p:spPr>
        <p:txBody>
          <a:bodyPr/>
          <a:lstStyle/>
          <a:p>
            <a:r>
              <a:rPr lang="de-DE" dirty="0" smtClean="0">
                <a:latin typeface="Calibri" panose="020F0502020204030204" pitchFamily="34" charset="0"/>
                <a:cs typeface="Calibri" panose="020F0502020204030204" pitchFamily="34" charset="0"/>
              </a:rPr>
              <a:t>Zeitpunkt des Vorsteuerabzugs</a:t>
            </a:r>
            <a:endParaRPr lang="de-DE" dirty="0">
              <a:latin typeface="Calibri" panose="020F0502020204030204" pitchFamily="34" charset="0"/>
              <a:cs typeface="Calibri" panose="020F0502020204030204" pitchFamily="34" charset="0"/>
            </a:endParaRPr>
          </a:p>
        </p:txBody>
      </p:sp>
      <p:pic>
        <p:nvPicPr>
          <p:cNvPr id="9" name="Grafik 8"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89926" y="4293096"/>
            <a:ext cx="1395056" cy="917784"/>
          </a:xfrm>
          <a:prstGeom prst="rect">
            <a:avLst/>
          </a:prstGeom>
        </p:spPr>
      </p:pic>
      <p:pic>
        <p:nvPicPr>
          <p:cNvPr id="10" name="Grafik 9" descr="Fichier:Exclamation mark 2.svg — Wikipédi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293096"/>
            <a:ext cx="1395056" cy="917784"/>
          </a:xfrm>
          <a:prstGeom prst="rect">
            <a:avLst/>
          </a:prstGeom>
        </p:spPr>
      </p:pic>
    </p:spTree>
    <p:extLst>
      <p:ext uri="{BB962C8B-B14F-4D97-AF65-F5344CB8AC3E}">
        <p14:creationId xmlns:p14="http://schemas.microsoft.com/office/powerpoint/2010/main" val="27344008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4611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Die Umsatzsteuer-Voranmeldung</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8</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44</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85731370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7564" y="1340768"/>
            <a:ext cx="11411797" cy="4679032"/>
          </a:xfrm>
        </p:spPr>
        <p:txBody>
          <a:bodyPr/>
          <a:lstStyle/>
          <a:p>
            <a:pPr>
              <a:buFont typeface="Symbol" panose="05050102010706020507" pitchFamily="18" charset="2"/>
              <a:buChar char="-"/>
            </a:pPr>
            <a:endParaRPr lang="de-DE" sz="1800" b="0" dirty="0" smtClean="0">
              <a:solidFill>
                <a:srgbClr val="572381"/>
              </a:solidFill>
              <a:latin typeface="Calibri" panose="020F0502020204030204" pitchFamily="34" charset="0"/>
              <a:cs typeface="Calibri" panose="020F0502020204030204" pitchFamily="34" charset="0"/>
            </a:endParaRPr>
          </a:p>
          <a:p>
            <a:pPr>
              <a:buFont typeface="Symbol" panose="05050102010706020507" pitchFamily="18" charset="2"/>
              <a:buChar char="-"/>
            </a:pPr>
            <a:r>
              <a:rPr lang="de-DE" sz="1800" b="0" dirty="0" smtClean="0">
                <a:solidFill>
                  <a:srgbClr val="572381"/>
                </a:solidFill>
                <a:latin typeface="Calibri" panose="020F0502020204030204" pitchFamily="34" charset="0"/>
                <a:cs typeface="Calibri" panose="020F0502020204030204" pitchFamily="34" charset="0"/>
              </a:rPr>
              <a:t>Umsatzsteuerpflichtig </a:t>
            </a:r>
            <a:r>
              <a:rPr lang="de-DE" sz="1800" b="0" dirty="0">
                <a:solidFill>
                  <a:srgbClr val="572381"/>
                </a:solidFill>
                <a:latin typeface="Calibri" panose="020F0502020204030204" pitchFamily="34" charset="0"/>
                <a:cs typeface="Calibri" panose="020F0502020204030204" pitchFamily="34" charset="0"/>
              </a:rPr>
              <a:t>sind alle Unternehmen ab dem ersten Tag ihrer unternehmerischen Tätigkeit.</a:t>
            </a:r>
          </a:p>
          <a:p>
            <a:pPr>
              <a:buFont typeface="Symbol" panose="05050102010706020507" pitchFamily="18" charset="2"/>
              <a:buChar char="-"/>
            </a:pPr>
            <a:r>
              <a:rPr lang="de-DE" sz="1800" dirty="0">
                <a:solidFill>
                  <a:srgbClr val="572381"/>
                </a:solidFill>
                <a:latin typeface="Calibri" panose="020F0502020204030204" pitchFamily="34" charset="0"/>
                <a:cs typeface="Calibri" panose="020F0502020204030204" pitchFamily="34" charset="0"/>
              </a:rPr>
              <a:t>Ausnahme:</a:t>
            </a:r>
            <a:r>
              <a:rPr lang="de-DE" sz="1800" b="0" dirty="0">
                <a:solidFill>
                  <a:srgbClr val="572381"/>
                </a:solidFill>
                <a:latin typeface="Calibri" panose="020F0502020204030204" pitchFamily="34" charset="0"/>
                <a:cs typeface="Calibri" panose="020F0502020204030204" pitchFamily="34" charset="0"/>
              </a:rPr>
              <a:t> Verzeichnet </a:t>
            </a:r>
            <a:r>
              <a:rPr lang="de-DE" sz="1800" b="0" dirty="0" smtClean="0">
                <a:solidFill>
                  <a:srgbClr val="572381"/>
                </a:solidFill>
                <a:latin typeface="Calibri" panose="020F0502020204030204" pitchFamily="34" charset="0"/>
                <a:cs typeface="Calibri" panose="020F0502020204030204" pitchFamily="34" charset="0"/>
              </a:rPr>
              <a:t>eine Kirchengemeinde nicht </a:t>
            </a:r>
            <a:r>
              <a:rPr lang="de-DE" sz="1800" b="0" dirty="0">
                <a:solidFill>
                  <a:srgbClr val="572381"/>
                </a:solidFill>
                <a:latin typeface="Calibri" panose="020F0502020204030204" pitchFamily="34" charset="0"/>
                <a:cs typeface="Calibri" panose="020F0502020204030204" pitchFamily="34" charset="0"/>
              </a:rPr>
              <a:t>mehr als 22.000 € Jahresumsatz und </a:t>
            </a:r>
            <a:r>
              <a:rPr lang="de-DE" sz="1800" b="0" dirty="0" smtClean="0">
                <a:solidFill>
                  <a:srgbClr val="572381"/>
                </a:solidFill>
                <a:latin typeface="Calibri" panose="020F0502020204030204" pitchFamily="34" charset="0"/>
                <a:cs typeface="Calibri" panose="020F0502020204030204" pitchFamily="34" charset="0"/>
              </a:rPr>
              <a:t>wendet die Kleinunternehmerregelung an</a:t>
            </a:r>
            <a:endParaRPr lang="de-DE" sz="1800" b="0" dirty="0">
              <a:solidFill>
                <a:srgbClr val="572381"/>
              </a:solidFill>
              <a:latin typeface="Calibri" panose="020F0502020204030204" pitchFamily="34" charset="0"/>
              <a:cs typeface="Calibri" panose="020F0502020204030204" pitchFamily="34" charset="0"/>
            </a:endParaRPr>
          </a:p>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Um die Umsatzsteuerlast zu senken, teilt das Finanzamt die Umsatzsteuerzahlung in einzelne Teilzahlungen auf. Im Rahmen der </a:t>
            </a:r>
            <a:r>
              <a:rPr lang="de-DE" sz="1800" b="0" dirty="0" smtClean="0">
                <a:solidFill>
                  <a:srgbClr val="572381"/>
                </a:solidFill>
                <a:latin typeface="Calibri" panose="020F0502020204030204" pitchFamily="34" charset="0"/>
                <a:cs typeface="Calibri" panose="020F0502020204030204" pitchFamily="34" charset="0"/>
              </a:rPr>
              <a:t>Umsatzsteuer-Voranmeldung </a:t>
            </a:r>
            <a:r>
              <a:rPr lang="de-DE" sz="1800" b="0" dirty="0">
                <a:solidFill>
                  <a:srgbClr val="572381"/>
                </a:solidFill>
                <a:latin typeface="Calibri" panose="020F0502020204030204" pitchFamily="34" charset="0"/>
                <a:cs typeface="Calibri" panose="020F0502020204030204" pitchFamily="34" charset="0"/>
              </a:rPr>
              <a:t>müssen </a:t>
            </a:r>
            <a:r>
              <a:rPr lang="de-DE" sz="1800" b="0" dirty="0" smtClean="0">
                <a:solidFill>
                  <a:srgbClr val="572381"/>
                </a:solidFill>
                <a:latin typeface="Calibri" panose="020F0502020204030204" pitchFamily="34" charset="0"/>
                <a:cs typeface="Calibri" panose="020F0502020204030204" pitchFamily="34" charset="0"/>
              </a:rPr>
              <a:t>die Kirchengemeinden ihre </a:t>
            </a:r>
            <a:r>
              <a:rPr lang="de-DE" sz="1800" b="0" dirty="0">
                <a:solidFill>
                  <a:srgbClr val="572381"/>
                </a:solidFill>
                <a:latin typeface="Calibri" panose="020F0502020204030204" pitchFamily="34" charset="0"/>
                <a:cs typeface="Calibri" panose="020F0502020204030204" pitchFamily="34" charset="0"/>
              </a:rPr>
              <a:t>Teilzahlungen selbst errechnen und an das Finanzamt abführen.</a:t>
            </a:r>
          </a:p>
          <a:p>
            <a:pPr>
              <a:buFont typeface="Symbol" panose="05050102010706020507" pitchFamily="18" charset="2"/>
              <a:buChar char="-"/>
            </a:pPr>
            <a:endParaRPr lang="de-DE" dirty="0"/>
          </a:p>
        </p:txBody>
      </p:sp>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45</a:t>
            </a:fld>
            <a:endParaRPr lang="de-DE" altLang="en-US"/>
          </a:p>
        </p:txBody>
      </p:sp>
      <p:sp>
        <p:nvSpPr>
          <p:cNvPr id="6" name="Titel 5"/>
          <p:cNvSpPr>
            <a:spLocks noGrp="1"/>
          </p:cNvSpPr>
          <p:nvPr>
            <p:ph type="title"/>
          </p:nvPr>
        </p:nvSpPr>
        <p:spPr/>
        <p:txBody>
          <a:bodyPr/>
          <a:lstStyle/>
          <a:p>
            <a:r>
              <a:rPr lang="de-DE" dirty="0" smtClean="0"/>
              <a:t>Was ist die </a:t>
            </a:r>
            <a:r>
              <a:rPr lang="de-DE" dirty="0" err="1" smtClean="0"/>
              <a:t>USt</a:t>
            </a:r>
            <a:r>
              <a:rPr lang="de-DE" dirty="0" smtClean="0"/>
              <a:t>-VA</a:t>
            </a:r>
            <a:endParaRPr lang="de-DE" dirty="0"/>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Voranmeld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417170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46</a:t>
            </a:fld>
            <a:endParaRPr lang="de-DE" altLang="en-US"/>
          </a:p>
        </p:txBody>
      </p:sp>
      <p:sp>
        <p:nvSpPr>
          <p:cNvPr id="6" name="Titel 5"/>
          <p:cNvSpPr>
            <a:spLocks noGrp="1"/>
          </p:cNvSpPr>
          <p:nvPr>
            <p:ph type="title"/>
          </p:nvPr>
        </p:nvSpPr>
        <p:spPr/>
        <p:txBody>
          <a:bodyPr/>
          <a:lstStyle/>
          <a:p>
            <a:r>
              <a:rPr lang="de-DE" dirty="0" smtClean="0"/>
              <a:t>Abgabe </a:t>
            </a:r>
            <a:r>
              <a:rPr lang="de-DE" dirty="0" err="1" smtClean="0"/>
              <a:t>USt</a:t>
            </a:r>
            <a:r>
              <a:rPr lang="de-DE" dirty="0" smtClean="0"/>
              <a:t>-VA</a:t>
            </a:r>
            <a:endParaRPr lang="de-DE" dirty="0"/>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Voranmeld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9" name="Inhaltsplatzhalter 8"/>
          <p:cNvSpPr>
            <a:spLocks noGrp="1"/>
          </p:cNvSpPr>
          <p:nvPr>
            <p:ph idx="1"/>
          </p:nvPr>
        </p:nvSpPr>
        <p:spPr>
          <a:xfrm>
            <a:off x="407564" y="1772816"/>
            <a:ext cx="11411797" cy="4246984"/>
          </a:xfrm>
        </p:spPr>
        <p:txBody>
          <a:bodyPr/>
          <a:lstStyle/>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Innerhalb der ersten beiden Jahre muss die Umsatzsteuervoranmeldung jeden Monat abgegeben werden. </a:t>
            </a:r>
          </a:p>
          <a:p>
            <a:pPr>
              <a:buFont typeface="Symbol" panose="05050102010706020507" pitchFamily="18" charset="2"/>
              <a:buChar char="-"/>
            </a:pPr>
            <a:r>
              <a:rPr lang="de-DE" sz="1800" b="0" dirty="0">
                <a:solidFill>
                  <a:srgbClr val="572381"/>
                </a:solidFill>
                <a:latin typeface="Calibri" panose="020F0502020204030204" pitchFamily="34" charset="0"/>
                <a:cs typeface="Calibri" panose="020F0502020204030204" pitchFamily="34" charset="0"/>
              </a:rPr>
              <a:t>Erst ab dem 1.1.2021 können Neugründer die Umsatzsteuervoranmeldung auch vierteljährlich abgeben</a:t>
            </a:r>
            <a:r>
              <a:rPr lang="de-DE" sz="1800" b="0" dirty="0" smtClean="0">
                <a:solidFill>
                  <a:srgbClr val="572381"/>
                </a:solidFill>
                <a:latin typeface="Calibri" panose="020F0502020204030204" pitchFamily="34" charset="0"/>
                <a:cs typeface="Calibri" panose="020F0502020204030204" pitchFamily="34" charset="0"/>
              </a:rPr>
              <a:t>.</a:t>
            </a:r>
          </a:p>
          <a:p>
            <a:pPr>
              <a:buFont typeface="Symbol" panose="05050102010706020507" pitchFamily="18" charset="2"/>
              <a:buChar char="-"/>
            </a:pPr>
            <a:r>
              <a:rPr lang="de-DE" sz="1800" b="0" dirty="0" smtClean="0">
                <a:solidFill>
                  <a:srgbClr val="572381"/>
                </a:solidFill>
                <a:latin typeface="Calibri" panose="020F0502020204030204" pitchFamily="34" charset="0"/>
                <a:cs typeface="Calibri" panose="020F0502020204030204" pitchFamily="34" charset="0"/>
              </a:rPr>
              <a:t>Wechsel der Voranmeldungszeiträume ist möglich im Rahmen der Vorjahres-Umsatzsteuerzahllast</a:t>
            </a:r>
          </a:p>
          <a:p>
            <a:pPr marL="0" indent="0">
              <a:buNone/>
            </a:pPr>
            <a:endParaRPr lang="de-DE" sz="1800" b="0" dirty="0">
              <a:solidFill>
                <a:srgbClr val="572381"/>
              </a:solidFill>
              <a:latin typeface="Calibri" panose="020F0502020204030204" pitchFamily="34" charset="0"/>
              <a:cs typeface="Calibri" panose="020F0502020204030204" pitchFamily="34" charset="0"/>
            </a:endParaRPr>
          </a:p>
        </p:txBody>
      </p:sp>
      <p:pic>
        <p:nvPicPr>
          <p:cNvPr id="40961" name="Picture 1" descr="C:\Users\croth\Desktop\Schulung\UStVA Zahllast mona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1014" y="3870152"/>
            <a:ext cx="7882581" cy="1512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85587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47</a:t>
            </a:fld>
            <a:endParaRPr lang="de-DE" altLang="en-US"/>
          </a:p>
        </p:txBody>
      </p:sp>
      <p:sp>
        <p:nvSpPr>
          <p:cNvPr id="6" name="Titel 5"/>
          <p:cNvSpPr>
            <a:spLocks noGrp="1"/>
          </p:cNvSpPr>
          <p:nvPr>
            <p:ph type="title"/>
          </p:nvPr>
        </p:nvSpPr>
        <p:spPr/>
        <p:txBody>
          <a:bodyPr/>
          <a:lstStyle/>
          <a:p>
            <a:r>
              <a:rPr lang="de-DE" dirty="0" smtClean="0"/>
              <a:t>Abgabefrist der </a:t>
            </a:r>
            <a:r>
              <a:rPr lang="de-DE" dirty="0" err="1" smtClean="0"/>
              <a:t>USt</a:t>
            </a:r>
            <a:r>
              <a:rPr lang="de-DE" dirty="0" smtClean="0"/>
              <a:t>-VA</a:t>
            </a:r>
            <a:endParaRPr lang="de-DE" dirty="0"/>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Die Umsatzsteuer-Voranmeldung</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9" name="Inhaltsplatzhalter 8"/>
          <p:cNvSpPr>
            <a:spLocks noGrp="1"/>
          </p:cNvSpPr>
          <p:nvPr>
            <p:ph idx="1"/>
          </p:nvPr>
        </p:nvSpPr>
        <p:spPr>
          <a:xfrm>
            <a:off x="5897438" y="1772816"/>
            <a:ext cx="5921923" cy="4246984"/>
          </a:xfrm>
        </p:spPr>
        <p:txBody>
          <a:bodyPr/>
          <a:lstStyle/>
          <a:p>
            <a:pPr>
              <a:buFontTx/>
              <a:buChar char="-"/>
            </a:pPr>
            <a:endParaRPr lang="de-DE" sz="1800" b="0" dirty="0" smtClean="0">
              <a:solidFill>
                <a:srgbClr val="572381"/>
              </a:solidFill>
              <a:latin typeface="Calibri" panose="020F0502020204030204" pitchFamily="34" charset="0"/>
              <a:cs typeface="Calibri" panose="020F0502020204030204" pitchFamily="34" charset="0"/>
            </a:endParaRPr>
          </a:p>
          <a:p>
            <a:pPr>
              <a:buFontTx/>
              <a:buChar char="-"/>
            </a:pPr>
            <a:r>
              <a:rPr lang="de-DE" sz="1800" b="0" dirty="0" smtClean="0">
                <a:solidFill>
                  <a:srgbClr val="572381"/>
                </a:solidFill>
                <a:latin typeface="Calibri" panose="020F0502020204030204" pitchFamily="34" charset="0"/>
                <a:cs typeface="Calibri" panose="020F0502020204030204" pitchFamily="34" charset="0"/>
              </a:rPr>
              <a:t>Die Frist zur Abgabe der </a:t>
            </a:r>
            <a:r>
              <a:rPr lang="de-DE" sz="1800" b="0" dirty="0" err="1" smtClean="0">
                <a:solidFill>
                  <a:srgbClr val="572381"/>
                </a:solidFill>
                <a:latin typeface="Calibri" panose="020F0502020204030204" pitchFamily="34" charset="0"/>
                <a:cs typeface="Calibri" panose="020F0502020204030204" pitchFamily="34" charset="0"/>
              </a:rPr>
              <a:t>USt</a:t>
            </a:r>
            <a:r>
              <a:rPr lang="de-DE" sz="1800" b="0" dirty="0" smtClean="0">
                <a:solidFill>
                  <a:srgbClr val="572381"/>
                </a:solidFill>
                <a:latin typeface="Calibri" panose="020F0502020204030204" pitchFamily="34" charset="0"/>
                <a:cs typeface="Calibri" panose="020F0502020204030204" pitchFamily="34" charset="0"/>
              </a:rPr>
              <a:t>-VA liegt immer am 10. des Folgemonats nach Ablauf des Voranmeldungszeitraums</a:t>
            </a:r>
          </a:p>
          <a:p>
            <a:pPr>
              <a:buFontTx/>
              <a:buChar char="-"/>
            </a:pPr>
            <a:r>
              <a:rPr lang="de-DE" sz="1800" b="0" dirty="0" smtClean="0">
                <a:solidFill>
                  <a:srgbClr val="572381"/>
                </a:solidFill>
                <a:latin typeface="Calibri" panose="020F0502020204030204" pitchFamily="34" charset="0"/>
                <a:cs typeface="Calibri" panose="020F0502020204030204" pitchFamily="34" charset="0"/>
              </a:rPr>
              <a:t>Durch die Beantragung der Dauerfristverlängerung ist die Abgabe der </a:t>
            </a:r>
            <a:r>
              <a:rPr lang="de-DE" sz="1800" b="0" dirty="0" err="1" smtClean="0">
                <a:solidFill>
                  <a:srgbClr val="572381"/>
                </a:solidFill>
                <a:latin typeface="Calibri" panose="020F0502020204030204" pitchFamily="34" charset="0"/>
                <a:cs typeface="Calibri" panose="020F0502020204030204" pitchFamily="34" charset="0"/>
              </a:rPr>
              <a:t>USt</a:t>
            </a:r>
            <a:r>
              <a:rPr lang="de-DE" sz="1800" b="0" dirty="0" smtClean="0">
                <a:solidFill>
                  <a:srgbClr val="572381"/>
                </a:solidFill>
                <a:latin typeface="Calibri" panose="020F0502020204030204" pitchFamily="34" charset="0"/>
                <a:cs typeface="Calibri" panose="020F0502020204030204" pitchFamily="34" charset="0"/>
              </a:rPr>
              <a:t>-VA um einen weiteren Monat verlängert</a:t>
            </a:r>
          </a:p>
          <a:p>
            <a:pPr>
              <a:buFontTx/>
              <a:buChar char="-"/>
            </a:pPr>
            <a:r>
              <a:rPr lang="de-DE" sz="1800" b="0" dirty="0">
                <a:solidFill>
                  <a:srgbClr val="572381"/>
                </a:solidFill>
                <a:latin typeface="Calibri" panose="020F0502020204030204" pitchFamily="34" charset="0"/>
                <a:cs typeface="Calibri" panose="020F0502020204030204" pitchFamily="34" charset="0"/>
              </a:rPr>
              <a:t>Fällt die Abgabefrist der Umsatzsteuervoranmeldung auf das Wochenende oder einen Feiertag, dann wird die Frist automatisch auf den nächsten Werktag nach hinten verschoben</a:t>
            </a:r>
          </a:p>
        </p:txBody>
      </p:sp>
      <p:pic>
        <p:nvPicPr>
          <p:cNvPr id="47106" name="Picture 2" descr="C:\Users\croth\Desktop\Schulung\USt-VA Dauerfris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798" y="2132856"/>
            <a:ext cx="5760640" cy="3732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42143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3178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smtClean="0">
                  <a:solidFill>
                    <a:srgbClr val="5D0B7A"/>
                  </a:solidFill>
                  <a:latin typeface="Calibri" panose="020F0502020204030204" pitchFamily="34" charset="0"/>
                  <a:cs typeface="Calibri" panose="020F0502020204030204" pitchFamily="34" charset="0"/>
                </a:rPr>
                <a:t>Praxisfall Gemeindefest</a:t>
              </a:r>
              <a:endParaRPr lang="de-DE" sz="3600" b="1" spc="300" dirty="0">
                <a:solidFill>
                  <a:srgbClr val="5D0B7A"/>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9</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48</a:t>
            </a:fld>
            <a:endParaRPr lang="de-DE" dirty="0"/>
          </a:p>
        </p:txBody>
      </p:sp>
      <p:sp>
        <p:nvSpPr>
          <p:cNvPr id="6" name="Datumsplatzhalter 5"/>
          <p:cNvSpPr>
            <a:spLocks noGrp="1"/>
          </p:cNvSpPr>
          <p:nvPr>
            <p:ph type="dt" sz="half" idx="10"/>
          </p:nvPr>
        </p:nvSpPr>
        <p:spPr/>
        <p:txBody>
          <a:bodyPr/>
          <a:lstStyle/>
          <a:p>
            <a:pPr>
              <a:defRPr/>
            </a:pPr>
            <a:fld id="{41632104-A6A4-4868-AA35-B277BB098FA6}" type="datetime1">
              <a:rPr lang="de-DE" altLang="en-US" smtClean="0"/>
              <a:t>06.07.2021</a:t>
            </a:fld>
            <a:endParaRPr lang="de-DE" altLang="en-US"/>
          </a:p>
        </p:txBody>
      </p:sp>
      <p:sp>
        <p:nvSpPr>
          <p:cNvPr id="10" name="Fußzeilenplatzhalter 9"/>
          <p:cNvSpPr>
            <a:spLocks noGrp="1"/>
          </p:cNvSpPr>
          <p:nvPr>
            <p:ph type="ftr" sz="quarter" idx="11"/>
          </p:nvPr>
        </p:nvSpPr>
        <p:spPr/>
        <p:txBody>
          <a:bodyPr/>
          <a:lstStyle/>
          <a:p>
            <a:pPr>
              <a:defRPr/>
            </a:pPr>
            <a:r>
              <a:rPr lang="de-DE" altLang="en-US" smtClean="0"/>
              <a:t>EKHN</a:t>
            </a:r>
            <a:endParaRPr lang="de-DE" altLang="en-US"/>
          </a:p>
        </p:txBody>
      </p:sp>
    </p:spTree>
    <p:extLst>
      <p:ext uri="{BB962C8B-B14F-4D97-AF65-F5344CB8AC3E}">
        <p14:creationId xmlns:p14="http://schemas.microsoft.com/office/powerpoint/2010/main" val="2274361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30768"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2" name="Titel 1"/>
          <p:cNvSpPr>
            <a:spLocks noGrp="1"/>
          </p:cNvSpPr>
          <p:nvPr>
            <p:ph type="title"/>
          </p:nvPr>
        </p:nvSpPr>
        <p:spPr/>
        <p:txBody>
          <a:bodyPr/>
          <a:lstStyle/>
          <a:p>
            <a:endParaRPr lang="de-DE"/>
          </a:p>
        </p:txBody>
      </p:sp>
      <p:sp>
        <p:nvSpPr>
          <p:cNvPr id="6" name="Textplatzhalter 5"/>
          <p:cNvSpPr>
            <a:spLocks noGrp="1"/>
          </p:cNvSpPr>
          <p:nvPr>
            <p:ph type="body" idx="1"/>
          </p:nvPr>
        </p:nvSpPr>
        <p:spPr/>
        <p:txBody>
          <a:bodyPr/>
          <a:lstStyle/>
          <a:p>
            <a:endParaRPr lang="de-DE"/>
          </a:p>
        </p:txBody>
      </p:sp>
      <p:sp>
        <p:nvSpPr>
          <p:cNvPr id="38" name="Footer Placeholder 37">
            <a:extLst>
              <a:ext uri="{FF2B5EF4-FFF2-40B4-BE49-F238E27FC236}">
                <a16:creationId xmlns:a16="http://schemas.microsoft.com/office/drawing/2014/main" xmlns="" id="{8B086465-9D2C-4065-BA11-C04E0BC6A662}"/>
              </a:ext>
            </a:extLst>
          </p:cNvPr>
          <p:cNvSpPr>
            <a:spLocks noGrp="1"/>
          </p:cNvSpPr>
          <p:nvPr>
            <p:ph type="ftr" sz="quarter" idx="11"/>
          </p:nvPr>
        </p:nvSpPr>
        <p:spPr/>
        <p:txBody>
          <a:bodyPr/>
          <a:lstStyle/>
          <a:p>
            <a:r>
              <a:rPr lang="de-DE" smtClean="0"/>
              <a:t>EKHN</a:t>
            </a:r>
            <a:endParaRPr lang="de-DE" dirty="0"/>
          </a:p>
        </p:txBody>
      </p:sp>
      <p:sp>
        <p:nvSpPr>
          <p:cNvPr id="43" name="Rechteck 9">
            <a:extLst>
              <a:ext uri="{FF2B5EF4-FFF2-40B4-BE49-F238E27FC236}">
                <a16:creationId xmlns:a16="http://schemas.microsoft.com/office/drawing/2014/main" xmlns="" id="{9A649FA6-56CD-46D4-9B03-13095D59F86F}"/>
              </a:ext>
            </a:extLst>
          </p:cNvPr>
          <p:cNvSpPr/>
          <p:nvPr/>
        </p:nvSpPr>
        <p:spPr>
          <a:xfrm>
            <a:off x="0" y="1754374"/>
            <a:ext cx="12226927" cy="4463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0" rIns="864000" rtlCol="0" anchor="ctr"/>
          <a:lstStyle/>
          <a:p>
            <a:pPr marL="285750" indent="-285750" defTabSz="801688">
              <a:spcAft>
                <a:spcPts val="1200"/>
              </a:spcAft>
              <a:buFont typeface="Arial" panose="020B0604020202020204" pitchFamily="34" charset="0"/>
              <a:buChar char="•"/>
            </a:pPr>
            <a:r>
              <a:rPr lang="de-DE" sz="1800" dirty="0" smtClean="0">
                <a:solidFill>
                  <a:srgbClr val="572381"/>
                </a:solidFill>
              </a:rPr>
              <a:t>Die Kirchengemeinde X rechnet bei ihrem diesjährigen Gemeindefest mit Erlösen von ca. 30.000€ </a:t>
            </a:r>
          </a:p>
          <a:p>
            <a:pPr marL="285750" indent="-285750" defTabSz="801688">
              <a:spcAft>
                <a:spcPts val="1200"/>
              </a:spcAft>
              <a:buFont typeface="Arial" panose="020B0604020202020204" pitchFamily="34" charset="0"/>
              <a:buChar char="•"/>
            </a:pPr>
            <a:r>
              <a:rPr lang="de-DE" sz="1800" dirty="0" smtClean="0">
                <a:solidFill>
                  <a:srgbClr val="572381"/>
                </a:solidFill>
              </a:rPr>
              <a:t>Es liegt kein Betrieb gewerblicher Art vor, da Einnahmen &lt; 35.000€ </a:t>
            </a:r>
            <a:br>
              <a:rPr lang="de-DE" sz="1800" dirty="0" smtClean="0">
                <a:solidFill>
                  <a:srgbClr val="572381"/>
                </a:solidFill>
              </a:rPr>
            </a:br>
            <a:r>
              <a:rPr lang="de-DE" sz="1800" dirty="0" smtClean="0">
                <a:solidFill>
                  <a:srgbClr val="572381"/>
                </a:solidFill>
              </a:rPr>
              <a:t>=keine Körperschaftssteuerpflicht</a:t>
            </a:r>
          </a:p>
          <a:p>
            <a:pPr marL="285750" indent="-285750" defTabSz="801688">
              <a:spcAft>
                <a:spcPts val="1200"/>
              </a:spcAft>
              <a:buFont typeface="Arial" panose="020B0604020202020204" pitchFamily="34" charset="0"/>
              <a:buChar char="•"/>
            </a:pPr>
            <a:r>
              <a:rPr lang="de-DE" sz="1800" dirty="0" smtClean="0">
                <a:solidFill>
                  <a:srgbClr val="572381"/>
                </a:solidFill>
              </a:rPr>
              <a:t>Zwecks Abrechnung gegenüber der Regionalverwaltung wurde bislang von Seiten der Kirchengemeinde einige Wochen nach dem Pfarrfest eine Aufstellung der Einnahmen und Ausgaben gefertigt. Buchhalterich erfasst wurde bislang lediglich der Saldo der Einnahmen und Ausgaben als „Überschuss Gemeindefest 2019“</a:t>
            </a:r>
          </a:p>
          <a:p>
            <a:pPr marL="285750" indent="-285750" defTabSz="801688">
              <a:spcAft>
                <a:spcPts val="1200"/>
              </a:spcAft>
              <a:buFont typeface="Arial" panose="020B0604020202020204" pitchFamily="34" charset="0"/>
              <a:buChar char="•"/>
            </a:pPr>
            <a:r>
              <a:rPr lang="de-DE" sz="1800" dirty="0" smtClean="0">
                <a:solidFill>
                  <a:srgbClr val="572381"/>
                </a:solidFill>
              </a:rPr>
              <a:t>Der Einkaufe erfolgte dezentral durch die jeweils organisatorisch Verantwortlichen gegen Vorlage der Einkaufsbelege. Die Einnahmen wurden durch die Barkassen „Essens- und Getränkestände“, „Spiele und sonstige Veranstaltungen – Barverkauf“ erfasst. Organisatorisch Verantwortliche waren bislang einzelne Mitglieder der Kirchengemeinde. </a:t>
            </a:r>
          </a:p>
          <a:p>
            <a:pPr marL="285750" indent="-285750" defTabSz="801688">
              <a:spcAft>
                <a:spcPts val="1200"/>
              </a:spcAft>
              <a:buFont typeface="Arial" panose="020B0604020202020204" pitchFamily="34" charset="0"/>
              <a:buChar char="•"/>
            </a:pPr>
            <a:r>
              <a:rPr lang="de-DE" sz="1800" dirty="0" smtClean="0">
                <a:solidFill>
                  <a:srgbClr val="572381"/>
                </a:solidFill>
              </a:rPr>
              <a:t>Umsatzsteuer wurde bislang weder ausgewiesen noch abgeführt oder geltend gemacht.</a:t>
            </a:r>
          </a:p>
          <a:p>
            <a:pPr marL="285750" indent="-285750" defTabSz="801688">
              <a:spcAft>
                <a:spcPts val="1200"/>
              </a:spcAft>
              <a:buFont typeface="Arial" panose="020B0604020202020204" pitchFamily="34" charset="0"/>
              <a:buChar char="•"/>
            </a:pPr>
            <a:r>
              <a:rPr lang="de-DE" sz="1800" dirty="0" smtClean="0">
                <a:solidFill>
                  <a:srgbClr val="572381"/>
                </a:solidFill>
              </a:rPr>
              <a:t>Wie ist der systematische Arbeitsprozess sicherzustellen?</a:t>
            </a:r>
          </a:p>
        </p:txBody>
      </p:sp>
      <p:sp>
        <p:nvSpPr>
          <p:cNvPr id="15" name="Titel 2"/>
          <p:cNvSpPr txBox="1">
            <a:spLocks/>
          </p:cNvSpPr>
          <p:nvPr/>
        </p:nvSpPr>
        <p:spPr>
          <a:xfrm>
            <a:off x="451972" y="536439"/>
            <a:ext cx="10918074" cy="576064"/>
          </a:xfrm>
          <a:prstGeom prst="roundRect">
            <a:avLst/>
          </a:prstGeom>
          <a:solidFill>
            <a:srgbClr val="572381">
              <a:alpha val="1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000" b="1">
                <a:solidFill>
                  <a:srgbClr val="572381"/>
                </a:solidFill>
                <a:latin typeface="Calibri" panose="020F0502020204030204" pitchFamily="34" charset="0"/>
                <a:ea typeface="+mj-ea"/>
                <a:cs typeface="Calibri" panose="020F0502020204030204" pitchFamily="34" charset="0"/>
              </a:defRPr>
            </a:lvl1pPr>
            <a:lvl2pPr algn="ctr">
              <a:defRPr sz="4400">
                <a:solidFill>
                  <a:schemeClr val="tx2"/>
                </a:solidFill>
              </a:defRPr>
            </a:lvl2pPr>
            <a:lvl3pPr algn="ctr">
              <a:defRPr sz="4400">
                <a:solidFill>
                  <a:schemeClr val="tx2"/>
                </a:solidFill>
              </a:defRPr>
            </a:lvl3pPr>
            <a:lvl4pPr algn="ctr">
              <a:defRPr sz="4400">
                <a:solidFill>
                  <a:schemeClr val="tx2"/>
                </a:solidFill>
              </a:defRPr>
            </a:lvl4pPr>
            <a:lvl5pPr algn="ctr">
              <a:defRPr sz="4400">
                <a:solidFill>
                  <a:schemeClr val="tx2"/>
                </a:solidFill>
              </a:defRPr>
            </a:lvl5pPr>
            <a:lvl6pPr marL="457200" algn="ctr" eaLnBrk="0" fontAlgn="base" hangingPunct="0">
              <a:spcBef>
                <a:spcPct val="0"/>
              </a:spcBef>
              <a:spcAft>
                <a:spcPct val="0"/>
              </a:spcAft>
              <a:defRPr sz="4400">
                <a:solidFill>
                  <a:schemeClr val="tx2"/>
                </a:solidFill>
              </a:defRPr>
            </a:lvl6pPr>
            <a:lvl7pPr marL="914400" algn="ctr" eaLnBrk="0" fontAlgn="base" hangingPunct="0">
              <a:spcBef>
                <a:spcPct val="0"/>
              </a:spcBef>
              <a:spcAft>
                <a:spcPct val="0"/>
              </a:spcAft>
              <a:defRPr sz="4400">
                <a:solidFill>
                  <a:schemeClr val="tx2"/>
                </a:solidFill>
              </a:defRPr>
            </a:lvl7pPr>
            <a:lvl8pPr marL="1371600" algn="ctr" eaLnBrk="0" fontAlgn="base" hangingPunct="0">
              <a:spcBef>
                <a:spcPct val="0"/>
              </a:spcBef>
              <a:spcAft>
                <a:spcPct val="0"/>
              </a:spcAft>
              <a:defRPr sz="4400">
                <a:solidFill>
                  <a:schemeClr val="tx2"/>
                </a:solidFill>
              </a:defRPr>
            </a:lvl8pPr>
            <a:lvl9pPr marL="1828800" algn="ctr" eaLnBrk="0" fontAlgn="base" hangingPunct="0">
              <a:spcBef>
                <a:spcPct val="0"/>
              </a:spcBef>
              <a:spcAft>
                <a:spcPct val="0"/>
              </a:spcAft>
              <a:defRPr sz="4400">
                <a:solidFill>
                  <a:schemeClr val="tx2"/>
                </a:solidFill>
              </a:defRPr>
            </a:lvl9pPr>
          </a:lstStyle>
          <a:p>
            <a:pPr algn="l">
              <a:spcAft>
                <a:spcPts val="600"/>
              </a:spcAft>
            </a:pPr>
            <a:r>
              <a:rPr lang="de-DE" dirty="0" smtClean="0"/>
              <a:t>Praxisfall Gemeindefest </a:t>
            </a:r>
            <a:endParaRPr lang="de-DE" dirty="0"/>
          </a:p>
        </p:txBody>
      </p:sp>
      <p:sp>
        <p:nvSpPr>
          <p:cNvPr id="7" name="Datumsplatzhalter 6"/>
          <p:cNvSpPr>
            <a:spLocks noGrp="1"/>
          </p:cNvSpPr>
          <p:nvPr>
            <p:ph type="dt" sz="half" idx="10"/>
          </p:nvPr>
        </p:nvSpPr>
        <p:spPr/>
        <p:txBody>
          <a:bodyPr/>
          <a:lstStyle/>
          <a:p>
            <a:pPr>
              <a:defRPr/>
            </a:pPr>
            <a:fld id="{C010BD2F-DEDC-4D5B-9C9C-7B2864D099A2}" type="datetime1">
              <a:rPr lang="de-DE" altLang="en-US" smtClean="0"/>
              <a:t>06.07.2021</a:t>
            </a:fld>
            <a:endParaRPr lang="de-DE" altLang="en-US" dirty="0"/>
          </a:p>
        </p:txBody>
      </p:sp>
      <p:sp>
        <p:nvSpPr>
          <p:cNvPr id="8" name="Foliennummernplatzhalter 7"/>
          <p:cNvSpPr>
            <a:spLocks noGrp="1"/>
          </p:cNvSpPr>
          <p:nvPr>
            <p:ph type="sldNum" sz="quarter" idx="12"/>
          </p:nvPr>
        </p:nvSpPr>
        <p:spPr/>
        <p:txBody>
          <a:bodyPr/>
          <a:lstStyle/>
          <a:p>
            <a:pPr>
              <a:defRPr/>
            </a:pPr>
            <a:fld id="{10C5E703-D0E0-4917-81EE-20874279E3D4}" type="slidenum">
              <a:rPr lang="de-DE" altLang="en-US" smtClean="0"/>
              <a:pPr>
                <a:defRPr/>
              </a:pPr>
              <a:t>49</a:t>
            </a:fld>
            <a:endParaRPr lang="de-DE" altLang="en-US"/>
          </a:p>
        </p:txBody>
      </p:sp>
      <p:sp>
        <p:nvSpPr>
          <p:cNvPr id="1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12763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2120" y="1844824"/>
            <a:ext cx="11411797" cy="4607024"/>
          </a:xfrm>
        </p:spPr>
        <p:txBody>
          <a:bodyPr/>
          <a:lstStyle/>
          <a:p>
            <a:pPr>
              <a:buFont typeface="Symbol" panose="05050102010706020507" pitchFamily="18" charset="2"/>
              <a:buChar char="-"/>
            </a:pPr>
            <a:r>
              <a:rPr lang="de-DE" sz="1800" dirty="0" smtClean="0">
                <a:solidFill>
                  <a:srgbClr val="572381"/>
                </a:solidFill>
                <a:latin typeface="Calibri" panose="020F0502020204030204" pitchFamily="34" charset="0"/>
                <a:cs typeface="Calibri" panose="020F0502020204030204" pitchFamily="34" charset="0"/>
              </a:rPr>
              <a:t>Welche neue Tätigkeiten erwarten die Rechtsträger</a:t>
            </a:r>
            <a:endParaRPr lang="de-DE" sz="1800" dirty="0">
              <a:solidFill>
                <a:srgbClr val="572381"/>
              </a:solidFill>
              <a:latin typeface="Calibri" panose="020F0502020204030204" pitchFamily="34" charset="0"/>
              <a:cs typeface="Calibri" panose="020F0502020204030204" pitchFamily="34" charset="0"/>
            </a:endParaRPr>
          </a:p>
          <a:p>
            <a:pPr lvl="1"/>
            <a:endParaRPr lang="de-DE" sz="1400" b="0" dirty="0" smtClean="0">
              <a:solidFill>
                <a:srgbClr val="572381"/>
              </a:solidFill>
              <a:latin typeface="Calibri" panose="020F0502020204030204" pitchFamily="34" charset="0"/>
              <a:cs typeface="Calibri" panose="020F0502020204030204" pitchFamily="34" charset="0"/>
            </a:endParaRPr>
          </a:p>
          <a:p>
            <a:pPr lvl="1"/>
            <a:endParaRPr lang="de-DE" sz="1400" b="0" dirty="0" smtClean="0">
              <a:solidFill>
                <a:srgbClr val="572381"/>
              </a:solidFill>
              <a:latin typeface="Calibri" panose="020F0502020204030204" pitchFamily="34" charset="0"/>
              <a:cs typeface="Calibri" panose="020F0502020204030204" pitchFamily="34" charset="0"/>
            </a:endParaRP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Erstellen von ordentlichen Ausgangsrechnungen gemäß Umsatzsteuergesetz, Prüfung Eingangsrechnungen</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Zeitnahe und pünktliche Weitergabe an </a:t>
            </a:r>
            <a:r>
              <a:rPr lang="de-DE" sz="1800" b="0" dirty="0">
                <a:solidFill>
                  <a:srgbClr val="572381"/>
                </a:solidFill>
                <a:latin typeface="Calibri" panose="020F0502020204030204" pitchFamily="34" charset="0"/>
                <a:cs typeface="Calibri" panose="020F0502020204030204" pitchFamily="34" charset="0"/>
              </a:rPr>
              <a:t>B</a:t>
            </a:r>
            <a:r>
              <a:rPr lang="de-DE" sz="1800" b="0" dirty="0" smtClean="0">
                <a:solidFill>
                  <a:srgbClr val="572381"/>
                </a:solidFill>
                <a:latin typeface="Calibri" panose="020F0502020204030204" pitchFamily="34" charset="0"/>
                <a:cs typeface="Calibri" panose="020F0502020204030204" pitchFamily="34" charset="0"/>
              </a:rPr>
              <a:t>uchhaltung</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Vorbereitung des neuen Buchungsblattes</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Grobe steuerliche Einordnung der Erträge und Aufwendungen</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Basiswissen Umsatzsteuer</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Steuerlicher Hintergrund für Haushaltsplanung</a:t>
            </a:r>
          </a:p>
          <a:p>
            <a:pPr lvl="1">
              <a:spcAft>
                <a:spcPts val="600"/>
              </a:spcAft>
            </a:pPr>
            <a:r>
              <a:rPr lang="de-DE" sz="1800" b="0" dirty="0" smtClean="0">
                <a:solidFill>
                  <a:srgbClr val="572381"/>
                </a:solidFill>
                <a:latin typeface="Calibri" panose="020F0502020204030204" pitchFamily="34" charset="0"/>
                <a:cs typeface="Calibri" panose="020F0502020204030204" pitchFamily="34" charset="0"/>
              </a:rPr>
              <a:t>Aktualität wahren: Steuer-ABC und Newsletter beachten („Sachkostenerstattung“, Reisen, …)</a:t>
            </a:r>
          </a:p>
          <a:p>
            <a:pPr lvl="1">
              <a:spcAft>
                <a:spcPts val="600"/>
              </a:spcAft>
            </a:pPr>
            <a:r>
              <a:rPr lang="de-DE" sz="1800" b="0" dirty="0">
                <a:solidFill>
                  <a:srgbClr val="572381"/>
                </a:solidFill>
                <a:latin typeface="Calibri" panose="020F0502020204030204" pitchFamily="34" charset="0"/>
                <a:cs typeface="Calibri" panose="020F0502020204030204" pitchFamily="34" charset="0"/>
              </a:rPr>
              <a:t>Bei unklaren bzw. komplexeren Sachverhalten bitte an die Umsatzsteuerkoordinatoren zur Klärung wenden</a:t>
            </a:r>
          </a:p>
          <a:p>
            <a:pPr marL="457200" lvl="1" indent="0">
              <a:spcAft>
                <a:spcPts val="600"/>
              </a:spcAft>
              <a:buNone/>
            </a:pPr>
            <a:endParaRPr lang="de-DE" sz="1800" b="0" dirty="0" smtClean="0">
              <a:solidFill>
                <a:srgbClr val="572381"/>
              </a:solidFill>
              <a:latin typeface="Calibri" panose="020F0502020204030204" pitchFamily="34" charset="0"/>
              <a:cs typeface="Calibri" panose="020F0502020204030204" pitchFamily="34" charset="0"/>
            </a:endParaRPr>
          </a:p>
          <a:p>
            <a:pPr lvl="1"/>
            <a:endParaRPr lang="de-DE" sz="1400" b="0" dirty="0">
              <a:solidFill>
                <a:srgbClr val="572381"/>
              </a:solidFill>
              <a:latin typeface="Calibri" panose="020F0502020204030204" pitchFamily="34" charset="0"/>
              <a:cs typeface="Calibri" panose="020F0502020204030204" pitchFamily="34" charset="0"/>
            </a:endParaRPr>
          </a:p>
        </p:txBody>
      </p:sp>
      <p:sp>
        <p:nvSpPr>
          <p:cNvPr id="3" name="Titel 2"/>
          <p:cNvSpPr>
            <a:spLocks noGrp="1"/>
          </p:cNvSpPr>
          <p:nvPr>
            <p:ph type="title"/>
          </p:nvPr>
        </p:nvSpPr>
        <p:spPr>
          <a:xfrm>
            <a:off x="1010420" y="476672"/>
            <a:ext cx="6543202" cy="379140"/>
          </a:xfrm>
        </p:spPr>
        <p:txBody>
          <a:bodyPr/>
          <a:lstStyle/>
          <a:p>
            <a:r>
              <a:rPr lang="de-DE" spc="300" dirty="0">
                <a:solidFill>
                  <a:srgbClr val="5D0B7A"/>
                </a:solidFill>
                <a:latin typeface="Calibri" panose="020F0502020204030204" pitchFamily="34" charset="0"/>
                <a:cs typeface="Calibri" panose="020F0502020204030204" pitchFamily="34" charset="0"/>
              </a:rPr>
              <a:t>Tätigkeiten </a:t>
            </a:r>
            <a:r>
              <a:rPr lang="de-DE" spc="300" dirty="0" smtClean="0">
                <a:solidFill>
                  <a:srgbClr val="5D0B7A"/>
                </a:solidFill>
                <a:latin typeface="Calibri" panose="020F0502020204030204" pitchFamily="34" charset="0"/>
                <a:cs typeface="Calibri" panose="020F0502020204030204" pitchFamily="34" charset="0"/>
              </a:rPr>
              <a:t>der Rechtsträger</a:t>
            </a:r>
            <a:endParaRPr lang="de-DE" dirty="0">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Anforderungsprofil</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7" name="Datumsplatzhalter 6"/>
          <p:cNvSpPr>
            <a:spLocks noGrp="1"/>
          </p:cNvSpPr>
          <p:nvPr>
            <p:ph type="dt" sz="half" idx="10"/>
          </p:nvPr>
        </p:nvSpPr>
        <p:spPr/>
        <p:txBody>
          <a:bodyPr/>
          <a:lstStyle/>
          <a:p>
            <a:pPr>
              <a:defRPr/>
            </a:pPr>
            <a:fld id="{7092433F-450F-41FB-B9B0-C5EB4A00EA39}" type="datetime1">
              <a:rPr lang="de-DE" altLang="en-US" smtClean="0"/>
              <a:t>06.07.2021</a:t>
            </a:fld>
            <a:endParaRPr lang="de-DE" altLang="en-US"/>
          </a:p>
        </p:txBody>
      </p:sp>
      <p:sp>
        <p:nvSpPr>
          <p:cNvPr id="8" name="Fußzeilenplatzhalter 7"/>
          <p:cNvSpPr>
            <a:spLocks noGrp="1"/>
          </p:cNvSpPr>
          <p:nvPr>
            <p:ph type="ftr" sz="quarter" idx="11"/>
          </p:nvPr>
        </p:nvSpPr>
        <p:spPr/>
        <p:txBody>
          <a:bodyPr/>
          <a:lstStyle/>
          <a:p>
            <a:pPr>
              <a:defRPr/>
            </a:pPr>
            <a:r>
              <a:rPr lang="de-DE" altLang="en-US" smtClean="0"/>
              <a:t>EKHN</a:t>
            </a:r>
            <a:endParaRPr lang="de-DE" altLang="en-US"/>
          </a:p>
        </p:txBody>
      </p:sp>
      <p:sp>
        <p:nvSpPr>
          <p:cNvPr id="9" name="Foliennummernplatzhalter 8"/>
          <p:cNvSpPr>
            <a:spLocks noGrp="1"/>
          </p:cNvSpPr>
          <p:nvPr>
            <p:ph type="sldNum" sz="quarter" idx="12"/>
          </p:nvPr>
        </p:nvSpPr>
        <p:spPr/>
        <p:txBody>
          <a:bodyPr/>
          <a:lstStyle/>
          <a:p>
            <a:pPr>
              <a:defRPr/>
            </a:pPr>
            <a:fld id="{BEA88772-2E14-493F-A726-E8A7A8CFB7CD}" type="slidenum">
              <a:rPr lang="de-DE" altLang="en-US" smtClean="0"/>
              <a:pPr>
                <a:defRPr/>
              </a:pPr>
              <a:t>5</a:t>
            </a:fld>
            <a:endParaRPr lang="de-DE" altLang="en-US"/>
          </a:p>
        </p:txBody>
      </p:sp>
    </p:spTree>
    <p:extLst>
      <p:ext uri="{BB962C8B-B14F-4D97-AF65-F5344CB8AC3E}">
        <p14:creationId xmlns:p14="http://schemas.microsoft.com/office/powerpoint/2010/main" val="399547725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0</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smtClean="0"/>
              <a:t>Arbeitshilfe Leitfaden</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51042"/>
            <a:ext cx="9553209" cy="578627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2551463" y="1799784"/>
              <a:ext cx="7117569"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a:p>
              <a:pPr>
                <a:spcAft>
                  <a:spcPts val="600"/>
                </a:spcAft>
              </a:pPr>
              <a:r>
                <a:rPr lang="de-DE" sz="1600" dirty="0">
                  <a:solidFill>
                    <a:schemeClr val="tx1"/>
                  </a:solidFill>
                </a:rPr>
                <a:t/>
              </a:r>
              <a:br>
                <a:rPr lang="de-DE" sz="1600" dirty="0">
                  <a:solidFill>
                    <a:schemeClr val="tx1"/>
                  </a:solidFill>
                </a:rPr>
              </a:br>
              <a:r>
                <a:rPr lang="de-DE" u="sng" dirty="0" smtClean="0">
                  <a:solidFill>
                    <a:srgbClr val="572381"/>
                  </a:solidFill>
                </a:rPr>
                <a:t>Pfarr-/Gemeindefest, Karnevalsfeier, Sommerfest und ähnliches</a:t>
              </a:r>
            </a:p>
            <a:p>
              <a:pPr marL="285750" indent="-285750">
                <a:spcAft>
                  <a:spcPts val="600"/>
                </a:spcAft>
                <a:buFont typeface="Symbol" panose="05050102010706020507" pitchFamily="18" charset="2"/>
                <a:buChar char="-"/>
              </a:pPr>
              <a:r>
                <a:rPr lang="de-DE" sz="1400" b="0" i="1" dirty="0" smtClean="0">
                  <a:solidFill>
                    <a:srgbClr val="572381"/>
                  </a:solidFill>
                </a:rPr>
                <a:t>Veranstaltet die Kirchengemeinde ein Fest oder eine Feier, so sind sämtliche Einnahmen steuerpflichtig.</a:t>
              </a:r>
            </a:p>
            <a:p>
              <a:pPr marL="285750" indent="-285750">
                <a:spcAft>
                  <a:spcPts val="600"/>
                </a:spcAft>
                <a:buFont typeface="Symbol" panose="05050102010706020507" pitchFamily="18" charset="2"/>
                <a:buChar char="-"/>
              </a:pPr>
              <a:r>
                <a:rPr lang="de-DE" sz="1400" b="0" i="1" dirty="0" smtClean="0">
                  <a:solidFill>
                    <a:srgbClr val="572381"/>
                  </a:solidFill>
                </a:rPr>
                <a:t>Die Einnahmen sind in voller Höhe zu erfassen; eine Saldierung mit den Ausgaben des Festes widerspricht den umsatzsteuerlichen Vorgaben. </a:t>
              </a:r>
            </a:p>
            <a:p>
              <a:pPr marL="285750" indent="-285750">
                <a:spcAft>
                  <a:spcPts val="600"/>
                </a:spcAft>
                <a:buFont typeface="Symbol" panose="05050102010706020507" pitchFamily="18" charset="2"/>
                <a:buChar char="-"/>
              </a:pPr>
              <a:endParaRPr lang="de-DE" sz="1400" b="0" i="1" dirty="0">
                <a:solidFill>
                  <a:srgbClr val="572381"/>
                </a:solidFill>
              </a:endParaRPr>
            </a:p>
            <a:p>
              <a:pPr marL="285750" indent="-285750">
                <a:spcAft>
                  <a:spcPts val="600"/>
                </a:spcAft>
                <a:buFont typeface="Symbol" panose="05050102010706020507" pitchFamily="18" charset="2"/>
                <a:buChar char="-"/>
              </a:pPr>
              <a:r>
                <a:rPr lang="de-DE" sz="1400" b="0" i="1" dirty="0" smtClean="0">
                  <a:solidFill>
                    <a:srgbClr val="572381"/>
                  </a:solidFill>
                </a:rPr>
                <a:t>Hinweis: Im Vorfeld ist zu klären, ob die Kirchengemeinde selbst oder eine eigenständige Organisation als Veranstalter auftritt bzw. in Eigenverantwortung die relevanten Einnahmen erzielt. </a:t>
              </a:r>
            </a:p>
            <a:p>
              <a:pPr marL="285750" indent="-285750">
                <a:spcAft>
                  <a:spcPts val="600"/>
                </a:spcAft>
                <a:buFont typeface="Symbol" panose="05050102010706020507" pitchFamily="18" charset="2"/>
                <a:buChar char="-"/>
              </a:pPr>
              <a:endParaRPr lang="de-DE" sz="1400" b="0" i="1" dirty="0">
                <a:solidFill>
                  <a:srgbClr val="572381"/>
                </a:solidFill>
              </a:endParaRPr>
            </a:p>
            <a:p>
              <a:pPr marL="285750" indent="-285750">
                <a:spcAft>
                  <a:spcPts val="600"/>
                </a:spcAft>
                <a:buFont typeface="Symbol" panose="05050102010706020507" pitchFamily="18" charset="2"/>
                <a:buChar char="-"/>
              </a:pPr>
              <a:r>
                <a:rPr lang="de-DE" sz="1400" i="1" dirty="0" smtClean="0">
                  <a:solidFill>
                    <a:srgbClr val="572381"/>
                  </a:solidFill>
                </a:rPr>
                <a:t>Beispiel:</a:t>
              </a:r>
            </a:p>
            <a:p>
              <a:pPr marL="285750" indent="-285750">
                <a:spcAft>
                  <a:spcPts val="600"/>
                </a:spcAft>
                <a:buFont typeface="Symbol" panose="05050102010706020507" pitchFamily="18" charset="2"/>
                <a:buChar char="-"/>
              </a:pPr>
              <a:r>
                <a:rPr lang="de-DE" sz="1400" b="0" i="1" dirty="0" smtClean="0">
                  <a:solidFill>
                    <a:srgbClr val="572381"/>
                  </a:solidFill>
                </a:rPr>
                <a:t>Die Kirchengemeinde veranstaltet ein Gemeindefest. Die vielfältigen Gruppen und Verbände der Gemeinde engagieren sich bei den diversen Angeboten des Festes, treten aber „im Namen und auf Rechnung“ der Kirchengemeinde auf. Es werden u.a. Getränke und Speisen zum Verkauf angeboten. Sämtliche Einnahmen aus allen Aktivitäten des Gemeindefestes werden im „Namen und auf Rechnung“ der Kirchengemeinde erzielt und von der Gemeinde abgerechnet.</a:t>
              </a:r>
            </a:p>
            <a:p>
              <a:pPr marL="285750" indent="-285750">
                <a:spcAft>
                  <a:spcPts val="600"/>
                </a:spcAft>
                <a:buFont typeface="Symbol" panose="05050102010706020507" pitchFamily="18" charset="2"/>
                <a:buChar char="-"/>
              </a:pPr>
              <a:endParaRPr lang="de-DE" sz="1400" b="0" i="1" dirty="0">
                <a:solidFill>
                  <a:srgbClr val="572381"/>
                </a:solidFill>
              </a:endParaRPr>
            </a:p>
            <a:p>
              <a:pPr marL="285750" indent="-285750">
                <a:spcAft>
                  <a:spcPts val="600"/>
                </a:spcAft>
                <a:buFont typeface="Symbol" panose="05050102010706020507" pitchFamily="18" charset="2"/>
                <a:buChar char="-"/>
              </a:pPr>
              <a:r>
                <a:rPr lang="de-DE" sz="1400" b="0" i="1" dirty="0" smtClean="0">
                  <a:solidFill>
                    <a:srgbClr val="572381"/>
                  </a:solidFill>
                </a:rPr>
                <a:t>Hier sind die Gesamteinnahmen zu erfassen.</a:t>
              </a: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Steuerliche Einordnung</a:t>
                </a:r>
                <a:endParaRPr lang="de-DE" sz="2000" b="1" dirty="0">
                  <a:solidFill>
                    <a:schemeClr val="bg1"/>
                  </a:solidFill>
                  <a:latin typeface="Calibri" panose="020F0502020204030204" pitchFamily="34" charset="0"/>
                  <a:cs typeface="Calibri" panose="020F0502020204030204" pitchFamily="34" charset="0"/>
                </a:endParaRPr>
              </a:p>
            </p:txBody>
          </p:sp>
        </p:grpSp>
      </p:grpSp>
      <p:sp>
        <p:nvSpPr>
          <p:cNvPr id="11"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111112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1</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Arbeitshilfe </a:t>
            </a:r>
            <a:r>
              <a:rPr lang="de-DE" dirty="0" smtClean="0"/>
              <a:t>Veranstaltung</a:t>
            </a:r>
            <a:endParaRPr lang="de-DE" dirty="0"/>
          </a:p>
        </p:txBody>
      </p:sp>
      <p:sp>
        <p:nvSpPr>
          <p:cNvPr id="11"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986331306"/>
              </p:ext>
            </p:extLst>
          </p:nvPr>
        </p:nvGraphicFramePr>
        <p:xfrm>
          <a:off x="5393382" y="2905692"/>
          <a:ext cx="1368152" cy="1185257"/>
        </p:xfrm>
        <a:graphic>
          <a:graphicData uri="http://schemas.openxmlformats.org/presentationml/2006/ole">
            <mc:AlternateContent xmlns:mc="http://schemas.openxmlformats.org/markup-compatibility/2006">
              <mc:Choice xmlns:v="urn:schemas-microsoft-com:vml" Requires="v">
                <p:oleObj spid="_x0000_s52242" name="Acrobat Document" showAsIcon="1" r:id="rId3" imgW="914400" imgH="792360" progId="AcroExch.Document.7">
                  <p:embed/>
                </p:oleObj>
              </mc:Choice>
              <mc:Fallback>
                <p:oleObj name="Acrobat Document" showAsIcon="1" r:id="rId3" imgW="914400" imgH="792360" progId="AcroExch.Document.7">
                  <p:embed/>
                  <p:pic>
                    <p:nvPicPr>
                      <p:cNvPr id="0" name=""/>
                      <p:cNvPicPr/>
                      <p:nvPr/>
                    </p:nvPicPr>
                    <p:blipFill>
                      <a:blip r:embed="rId4"/>
                      <a:stretch>
                        <a:fillRect/>
                      </a:stretch>
                    </p:blipFill>
                    <p:spPr>
                      <a:xfrm>
                        <a:off x="5393382" y="2905692"/>
                        <a:ext cx="1368152" cy="1185257"/>
                      </a:xfrm>
                      <a:prstGeom prst="rect">
                        <a:avLst/>
                      </a:prstGeom>
                    </p:spPr>
                  </p:pic>
                </p:oleObj>
              </mc:Fallback>
            </mc:AlternateContent>
          </a:graphicData>
        </a:graphic>
      </p:graphicFrame>
    </p:spTree>
    <p:extLst>
      <p:ext uri="{BB962C8B-B14F-4D97-AF65-F5344CB8AC3E}">
        <p14:creationId xmlns:p14="http://schemas.microsoft.com/office/powerpoint/2010/main" val="12806471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2</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Arbeitshilfe </a:t>
            </a:r>
            <a:r>
              <a:rPr lang="de-DE" dirty="0" smtClean="0"/>
              <a:t>Veranstaltung</a:t>
            </a:r>
            <a:endParaRPr lang="de-DE" dirty="0"/>
          </a:p>
        </p:txBody>
      </p:sp>
      <p:sp>
        <p:nvSpPr>
          <p:cNvPr id="11"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2" name="Objekt 1">
            <a:hlinkClick r:id="rId3" action="ppaction://hlinkfile"/>
          </p:cNvPr>
          <p:cNvGraphicFramePr>
            <a:graphicFrameLocks noChangeAspect="1"/>
          </p:cNvGraphicFramePr>
          <p:nvPr>
            <p:extLst>
              <p:ext uri="{D42A27DB-BD31-4B8C-83A1-F6EECF244321}">
                <p14:modId xmlns:p14="http://schemas.microsoft.com/office/powerpoint/2010/main" val="2063668150"/>
              </p:ext>
            </p:extLst>
          </p:nvPr>
        </p:nvGraphicFramePr>
        <p:xfrm>
          <a:off x="5177358" y="2564904"/>
          <a:ext cx="1619956" cy="1403400"/>
        </p:xfrm>
        <a:graphic>
          <a:graphicData uri="http://schemas.openxmlformats.org/presentationml/2006/ole">
            <mc:AlternateContent xmlns:mc="http://schemas.openxmlformats.org/markup-compatibility/2006">
              <mc:Choice xmlns:v="urn:schemas-microsoft-com:vml" Requires="v">
                <p:oleObj spid="_x0000_s36918" name="Acrobat Document" showAsIcon="1" r:id="rId4" imgW="914400" imgH="792360" progId="AcroExch.Document.DC">
                  <p:embed/>
                </p:oleObj>
              </mc:Choice>
              <mc:Fallback>
                <p:oleObj name="Acrobat Document" showAsIcon="1" r:id="rId4" imgW="914400" imgH="792360" progId="AcroExch.Document.DC">
                  <p:embed/>
                  <p:pic>
                    <p:nvPicPr>
                      <p:cNvPr id="0" name=""/>
                      <p:cNvPicPr/>
                      <p:nvPr/>
                    </p:nvPicPr>
                    <p:blipFill>
                      <a:blip r:embed="rId5"/>
                      <a:stretch>
                        <a:fillRect/>
                      </a:stretch>
                    </p:blipFill>
                    <p:spPr>
                      <a:xfrm>
                        <a:off x="5177358" y="2564904"/>
                        <a:ext cx="1619956" cy="1403400"/>
                      </a:xfrm>
                      <a:prstGeom prst="rect">
                        <a:avLst/>
                      </a:prstGeom>
                    </p:spPr>
                  </p:pic>
                </p:oleObj>
              </mc:Fallback>
            </mc:AlternateContent>
          </a:graphicData>
        </a:graphic>
      </p:graphicFrame>
    </p:spTree>
    <p:extLst>
      <p:ext uri="{BB962C8B-B14F-4D97-AF65-F5344CB8AC3E}">
        <p14:creationId xmlns:p14="http://schemas.microsoft.com/office/powerpoint/2010/main" val="133680563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3</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smtClean="0"/>
              <a:t>Systematische Bearbeitung</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51042"/>
            <a:ext cx="9553209" cy="578627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Belegbearbeitung</a:t>
                </a:r>
                <a:endParaRPr lang="de-DE" sz="2000" b="1" dirty="0">
                  <a:solidFill>
                    <a:schemeClr val="bg1"/>
                  </a:solidFill>
                  <a:latin typeface="Calibri" panose="020F0502020204030204" pitchFamily="34" charset="0"/>
                  <a:cs typeface="Calibri" panose="020F0502020204030204" pitchFamily="34" charset="0"/>
                </a:endParaRPr>
              </a:p>
            </p:txBody>
          </p:sp>
        </p:grpSp>
      </p:gr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1374" y="2348880"/>
            <a:ext cx="4738416" cy="2069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pic>
        <p:nvPicPr>
          <p:cNvPr id="32770" name="Picture 2" descr="C:\Users\croth\Desktop\Schulung\Eingangsrechnu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6957" y="1516284"/>
            <a:ext cx="3518882" cy="4685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272951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4</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Systematische </a:t>
            </a:r>
            <a:r>
              <a:rPr lang="de-DE" dirty="0" smtClean="0"/>
              <a:t>Bearbeitung</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51042"/>
            <a:ext cx="9553209" cy="578627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Belegbearbeitung</a:t>
                </a:r>
                <a:endParaRPr lang="de-DE" sz="2000" b="1" dirty="0">
                  <a:solidFill>
                    <a:schemeClr val="bg1"/>
                  </a:solidFill>
                  <a:latin typeface="Calibri" panose="020F0502020204030204" pitchFamily="34" charset="0"/>
                  <a:cs typeface="Calibri" panose="020F0502020204030204" pitchFamily="34" charset="0"/>
                </a:endParaRPr>
              </a:p>
            </p:txBody>
          </p:sp>
        </p:grpSp>
      </p:grpSp>
      <p:pic>
        <p:nvPicPr>
          <p:cNvPr id="32770" name="Picture 2" descr="C:\Users\croth\Pictures\Bäcker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4950" y="4005064"/>
            <a:ext cx="4392488" cy="1995885"/>
          </a:xfrm>
          <a:prstGeom prst="rect">
            <a:avLst/>
          </a:prstGeom>
          <a:noFill/>
          <a:extLst>
            <a:ext uri="{909E8E84-426E-40DD-AFC4-6F175D3DCCD1}">
              <a14:hiddenFill xmlns:a14="http://schemas.microsoft.com/office/drawing/2010/main">
                <a:solidFill>
                  <a:srgbClr val="FFFFFF"/>
                </a:solidFill>
              </a14:hiddenFill>
            </a:ext>
          </a:extLst>
        </p:spPr>
      </p:pic>
      <p:pic>
        <p:nvPicPr>
          <p:cNvPr id="32771" name="Picture 3" descr="C:\Users\croth\Pictures\Bäck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7108" y="1556792"/>
            <a:ext cx="4723517" cy="2146300"/>
          </a:xfrm>
          <a:prstGeom prst="rect">
            <a:avLst/>
          </a:prstGeom>
          <a:noFill/>
          <a:extLst>
            <a:ext uri="{909E8E84-426E-40DD-AFC4-6F175D3DCCD1}">
              <a14:hiddenFill xmlns:a14="http://schemas.microsoft.com/office/drawing/2010/main">
                <a:solidFill>
                  <a:srgbClr val="FFFFFF"/>
                </a:solidFill>
              </a14:hiddenFill>
            </a:ext>
          </a:extLst>
        </p:spPr>
      </p:pic>
      <p:sp>
        <p:nvSpPr>
          <p:cNvPr id="2" name="Rechteck 1"/>
          <p:cNvSpPr/>
          <p:nvPr/>
        </p:nvSpPr>
        <p:spPr>
          <a:xfrm>
            <a:off x="4427080" y="2348880"/>
            <a:ext cx="894294" cy="830997"/>
          </a:xfrm>
          <a:prstGeom prst="rect">
            <a:avLst/>
          </a:prstGeom>
        </p:spPr>
        <p:txBody>
          <a:bodyPr wrap="square">
            <a:spAutoFit/>
          </a:bodyPr>
          <a:lstStyle/>
          <a:p>
            <a:r>
              <a:rPr lang="de-DE" sz="4800" dirty="0">
                <a:solidFill>
                  <a:srgbClr val="92D050"/>
                </a:solidFill>
              </a:rPr>
              <a:t>✓</a:t>
            </a:r>
          </a:p>
        </p:txBody>
      </p:sp>
      <p:sp>
        <p:nvSpPr>
          <p:cNvPr id="3" name="Rechteck 2"/>
          <p:cNvSpPr/>
          <p:nvPr/>
        </p:nvSpPr>
        <p:spPr>
          <a:xfrm>
            <a:off x="4247060" y="4725142"/>
            <a:ext cx="1254334" cy="830997"/>
          </a:xfrm>
          <a:prstGeom prst="rect">
            <a:avLst/>
          </a:prstGeom>
        </p:spPr>
        <p:txBody>
          <a:bodyPr wrap="square">
            <a:spAutoFit/>
          </a:bodyPr>
          <a:lstStyle/>
          <a:p>
            <a:r>
              <a:rPr lang="de-DE" sz="4800" dirty="0">
                <a:solidFill>
                  <a:srgbClr val="FF0000"/>
                </a:solidFill>
              </a:rPr>
              <a:t>✗</a:t>
            </a:r>
          </a:p>
        </p:txBody>
      </p:sp>
      <p:sp>
        <p:nvSpPr>
          <p:cNvPr id="16" name="Content Placeholder 6">
            <a:extLst>
              <a:ext uri="{FF2B5EF4-FFF2-40B4-BE49-F238E27FC236}">
                <a16:creationId xmlns:a16="http://schemas.microsoft.com/office/drawing/2014/main" xmlns="" id="{360D0BF0-82B9-4621-83D0-018868ACB0FF}"/>
              </a:ext>
            </a:extLst>
          </p:cNvPr>
          <p:cNvSpPr txBox="1">
            <a:spLocks/>
          </p:cNvSpPr>
          <p:nvPr/>
        </p:nvSpPr>
        <p:spPr>
          <a:xfrm>
            <a:off x="7893644" y="2134106"/>
            <a:ext cx="2339942" cy="374191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smtClean="0">
              <a:solidFill>
                <a:schemeClr val="tx1"/>
              </a:solidFill>
            </a:endParaRPr>
          </a:p>
          <a:p>
            <a:pPr>
              <a:spcAft>
                <a:spcPts val="600"/>
              </a:spcAft>
            </a:pPr>
            <a:endParaRPr lang="de-DE" sz="1600" dirty="0">
              <a:solidFill>
                <a:schemeClr val="tx1"/>
              </a:solidFill>
            </a:endParaRPr>
          </a:p>
          <a:p>
            <a:pPr>
              <a:spcAft>
                <a:spcPts val="600"/>
              </a:spcAft>
            </a:pPr>
            <a:r>
              <a:rPr lang="de-DE" sz="1600" dirty="0" smtClean="0">
                <a:solidFill>
                  <a:srgbClr val="572381"/>
                </a:solidFill>
              </a:rPr>
              <a:t>Formelle Anforderungen an eine Rechnung aus umsatzsteuerlicher Sicht</a:t>
            </a:r>
          </a:p>
          <a:p>
            <a:pPr>
              <a:spcAft>
                <a:spcPts val="600"/>
              </a:spcAft>
            </a:pPr>
            <a:endParaRPr lang="de-DE" sz="1600" u="sng" dirty="0" smtClean="0">
              <a:solidFill>
                <a:srgbClr val="572381"/>
              </a:solidFill>
            </a:endParaRPr>
          </a:p>
          <a:p>
            <a:pPr>
              <a:spcAft>
                <a:spcPts val="600"/>
              </a:spcAft>
            </a:pPr>
            <a:r>
              <a:rPr lang="de-DE" sz="1600" u="sng" dirty="0" smtClean="0">
                <a:solidFill>
                  <a:srgbClr val="572381"/>
                </a:solidFill>
              </a:rPr>
              <a:t>Umsatzsteuerlicher Rechnung Folien X-X</a:t>
            </a:r>
            <a:endParaRPr lang="de-DE" sz="1600" u="sng" dirty="0">
              <a:solidFill>
                <a:schemeClr val="tx1"/>
              </a:solidFill>
            </a:endParaRPr>
          </a:p>
        </p:txBody>
      </p:sp>
      <p:grpSp>
        <p:nvGrpSpPr>
          <p:cNvPr id="17" name="Group 5">
            <a:extLst>
              <a:ext uri="{FF2B5EF4-FFF2-40B4-BE49-F238E27FC236}">
                <a16:creationId xmlns:a16="http://schemas.microsoft.com/office/drawing/2014/main" xmlns="" id="{9DBCFA2E-73BF-42C7-AFB3-FF8D1C91B435}"/>
              </a:ext>
            </a:extLst>
          </p:cNvPr>
          <p:cNvGrpSpPr/>
          <p:nvPr/>
        </p:nvGrpSpPr>
        <p:grpSpPr>
          <a:xfrm>
            <a:off x="7698181" y="1899328"/>
            <a:ext cx="2535948" cy="4006345"/>
            <a:chOff x="2128665" y="1799784"/>
            <a:chExt cx="7950201" cy="4952635"/>
          </a:xfrm>
        </p:grpSpPr>
        <p:sp>
          <p:nvSpPr>
            <p:cNvPr id="18"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19"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20"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21"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Rechnung</a:t>
                </a:r>
                <a:endParaRPr lang="de-DE" sz="2000" b="1" dirty="0">
                  <a:solidFill>
                    <a:schemeClr val="bg1"/>
                  </a:solidFill>
                  <a:latin typeface="Calibri" panose="020F0502020204030204" pitchFamily="34" charset="0"/>
                  <a:cs typeface="Calibri" panose="020F0502020204030204" pitchFamily="34" charset="0"/>
                </a:endParaRPr>
              </a:p>
            </p:txBody>
          </p:sp>
        </p:grpSp>
      </p:grpSp>
      <p:sp>
        <p:nvSpPr>
          <p:cNvPr id="22"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5644329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5</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Systematische </a:t>
            </a:r>
            <a:r>
              <a:rPr lang="de-DE" dirty="0" smtClean="0"/>
              <a:t>Bearbeitung</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51042"/>
            <a:ext cx="9553209" cy="578627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Belegbearbeitung</a:t>
                </a:r>
                <a:endParaRPr lang="de-DE" sz="2000" b="1" dirty="0">
                  <a:solidFill>
                    <a:schemeClr val="bg1"/>
                  </a:solidFill>
                  <a:latin typeface="Calibri" panose="020F0502020204030204" pitchFamily="34" charset="0"/>
                  <a:cs typeface="Calibri" panose="020F0502020204030204" pitchFamily="34" charset="0"/>
                </a:endParaRPr>
              </a:p>
            </p:txBody>
          </p:sp>
        </p:grpSp>
      </p:grpSp>
      <p:sp>
        <p:nvSpPr>
          <p:cNvPr id="16" name="Content Placeholder 6">
            <a:extLst>
              <a:ext uri="{FF2B5EF4-FFF2-40B4-BE49-F238E27FC236}">
                <a16:creationId xmlns:a16="http://schemas.microsoft.com/office/drawing/2014/main" xmlns="" id="{360D0BF0-82B9-4621-83D0-018868ACB0FF}"/>
              </a:ext>
            </a:extLst>
          </p:cNvPr>
          <p:cNvSpPr txBox="1">
            <a:spLocks/>
          </p:cNvSpPr>
          <p:nvPr/>
        </p:nvSpPr>
        <p:spPr>
          <a:xfrm>
            <a:off x="5648440" y="2703901"/>
            <a:ext cx="4696188" cy="374191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de-DE" sz="1600" u="sng" dirty="0" smtClean="0">
                <a:solidFill>
                  <a:srgbClr val="572381"/>
                </a:solidFill>
              </a:rPr>
              <a:t>Checkliste Folie 22 Kleinstbetragsrechnung</a:t>
            </a:r>
          </a:p>
          <a:p>
            <a:pPr marL="285750" indent="-285750">
              <a:spcAft>
                <a:spcPts val="600"/>
              </a:spcAft>
              <a:buFont typeface="Symbol" panose="05050102010706020507" pitchFamily="18" charset="2"/>
              <a:buChar char="-"/>
            </a:pPr>
            <a:r>
              <a:rPr lang="de-DE" sz="1600" b="0" dirty="0" smtClean="0">
                <a:solidFill>
                  <a:srgbClr val="572381"/>
                </a:solidFill>
              </a:rPr>
              <a:t>Vollständiger Name und Anschrift des leistenden Unternehmers</a:t>
            </a:r>
          </a:p>
          <a:p>
            <a:pPr marL="285750" indent="-285750">
              <a:spcAft>
                <a:spcPts val="600"/>
              </a:spcAft>
              <a:buFont typeface="Symbol" panose="05050102010706020507" pitchFamily="18" charset="2"/>
              <a:buChar char="-"/>
            </a:pPr>
            <a:r>
              <a:rPr lang="de-DE" sz="1600" b="0" dirty="0" smtClean="0">
                <a:solidFill>
                  <a:srgbClr val="572381"/>
                </a:solidFill>
              </a:rPr>
              <a:t>Ausstellungsdatum der Rechnung</a:t>
            </a:r>
          </a:p>
          <a:p>
            <a:pPr marL="285750" indent="-285750">
              <a:spcAft>
                <a:spcPts val="600"/>
              </a:spcAft>
              <a:buFont typeface="Symbol" panose="05050102010706020507" pitchFamily="18" charset="2"/>
              <a:buChar char="-"/>
            </a:pPr>
            <a:r>
              <a:rPr lang="de-DE" sz="1600" b="0" dirty="0" smtClean="0">
                <a:solidFill>
                  <a:srgbClr val="572381"/>
                </a:solidFill>
              </a:rPr>
              <a:t>Menge und Art der gelieferten Gegenstände bzw. Leistung </a:t>
            </a:r>
          </a:p>
          <a:p>
            <a:pPr marL="285750" indent="-285750">
              <a:spcAft>
                <a:spcPts val="600"/>
              </a:spcAft>
              <a:buFont typeface="Symbol" panose="05050102010706020507" pitchFamily="18" charset="2"/>
              <a:buChar char="-"/>
            </a:pPr>
            <a:r>
              <a:rPr lang="de-DE" sz="1600" b="0" dirty="0" smtClean="0">
                <a:solidFill>
                  <a:srgbClr val="572381"/>
                </a:solidFill>
              </a:rPr>
              <a:t>Entgelt und Steuerbetrag in einer Summe</a:t>
            </a:r>
          </a:p>
          <a:p>
            <a:pPr marL="285750" indent="-285750">
              <a:spcAft>
                <a:spcPts val="600"/>
              </a:spcAft>
              <a:buFont typeface="Symbol" panose="05050102010706020507" pitchFamily="18" charset="2"/>
              <a:buChar char="-"/>
            </a:pPr>
            <a:r>
              <a:rPr lang="de-DE" sz="1600" b="0" dirty="0" smtClean="0">
                <a:solidFill>
                  <a:srgbClr val="572381"/>
                </a:solidFill>
              </a:rPr>
              <a:t>Anzuwendender Steuersatz bzw. Hinweis auf Steuerbefreiung</a:t>
            </a:r>
            <a:endParaRPr lang="de-DE" sz="1600" b="0" dirty="0">
              <a:solidFill>
                <a:schemeClr val="tx1"/>
              </a:solidFill>
            </a:endParaRPr>
          </a:p>
        </p:txBody>
      </p:sp>
      <p:grpSp>
        <p:nvGrpSpPr>
          <p:cNvPr id="17" name="Group 5">
            <a:extLst>
              <a:ext uri="{FF2B5EF4-FFF2-40B4-BE49-F238E27FC236}">
                <a16:creationId xmlns:a16="http://schemas.microsoft.com/office/drawing/2014/main" xmlns="" id="{9DBCFA2E-73BF-42C7-AFB3-FF8D1C91B435}"/>
              </a:ext>
            </a:extLst>
          </p:cNvPr>
          <p:cNvGrpSpPr/>
          <p:nvPr/>
        </p:nvGrpSpPr>
        <p:grpSpPr>
          <a:xfrm>
            <a:off x="5503881" y="2002910"/>
            <a:ext cx="4840747" cy="3353528"/>
            <a:chOff x="2128665" y="1799784"/>
            <a:chExt cx="7950201" cy="4952635"/>
          </a:xfrm>
        </p:grpSpPr>
        <p:sp>
          <p:nvSpPr>
            <p:cNvPr id="18"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sp>
          <p:nvSpPr>
            <p:cNvPr id="20" name="Rectangle 18">
              <a:extLst>
                <a:ext uri="{FF2B5EF4-FFF2-40B4-BE49-F238E27FC236}">
                  <a16:creationId xmlns:a16="http://schemas.microsoft.com/office/drawing/2014/main" xmlns="" id="{A0407787-D308-481C-BA84-4558324D1569}"/>
                </a:ext>
              </a:extLst>
            </p:cNvPr>
            <p:cNvSpPr/>
            <p:nvPr/>
          </p:nvSpPr>
          <p:spPr>
            <a:xfrm>
              <a:off x="2128665" y="2680739"/>
              <a:ext cx="7950201" cy="4071680"/>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grpSp>
      <p:pic>
        <p:nvPicPr>
          <p:cNvPr id="33794" name="Picture 2" descr="C:\Users\croth\Desktop\Schulung\Edek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3022" y="1553037"/>
            <a:ext cx="2415502" cy="4678240"/>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570404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6</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Systematische </a:t>
            </a:r>
            <a:r>
              <a:rPr lang="de-DE" dirty="0" smtClean="0"/>
              <a:t>Bearbeitung</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260648"/>
            <a:ext cx="9553209" cy="5976664"/>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Buchungsblatt</a:t>
                </a:r>
                <a:endParaRPr lang="de-DE" sz="2000" b="1" dirty="0">
                  <a:solidFill>
                    <a:schemeClr val="bg1"/>
                  </a:solidFill>
                  <a:latin typeface="Calibri" panose="020F0502020204030204" pitchFamily="34" charset="0"/>
                  <a:cs typeface="Calibri" panose="020F0502020204030204" pitchFamily="34" charset="0"/>
                </a:endParaRPr>
              </a:p>
            </p:txBody>
          </p:sp>
        </p:grpSp>
      </p:grpSp>
      <p:pic>
        <p:nvPicPr>
          <p:cNvPr id="34818" name="Picture 2" descr="C:\Users\croth\Desktop\Schulung\Buchungsblatt allgemei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9046" y="1372897"/>
            <a:ext cx="3368697" cy="480516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5">
            <a:extLst>
              <a:ext uri="{FF2B5EF4-FFF2-40B4-BE49-F238E27FC236}">
                <a16:creationId xmlns:a16="http://schemas.microsoft.com/office/drawing/2014/main" xmlns="" id="{9DBCFA2E-73BF-42C7-AFB3-FF8D1C91B435}"/>
              </a:ext>
            </a:extLst>
          </p:cNvPr>
          <p:cNvGrpSpPr/>
          <p:nvPr/>
        </p:nvGrpSpPr>
        <p:grpSpPr>
          <a:xfrm>
            <a:off x="6185470" y="2002910"/>
            <a:ext cx="4392488" cy="3353528"/>
            <a:chOff x="2128665" y="1799784"/>
            <a:chExt cx="7950201" cy="4952635"/>
          </a:xfrm>
        </p:grpSpPr>
        <p:sp>
          <p:nvSpPr>
            <p:cNvPr id="21"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sp>
          <p:nvSpPr>
            <p:cNvPr id="22" name="Rectangle 18">
              <a:extLst>
                <a:ext uri="{FF2B5EF4-FFF2-40B4-BE49-F238E27FC236}">
                  <a16:creationId xmlns:a16="http://schemas.microsoft.com/office/drawing/2014/main" xmlns="" id="{A0407787-D308-481C-BA84-4558324D1569}"/>
                </a:ext>
              </a:extLst>
            </p:cNvPr>
            <p:cNvSpPr/>
            <p:nvPr/>
          </p:nvSpPr>
          <p:spPr>
            <a:xfrm>
              <a:off x="2128665" y="2680739"/>
              <a:ext cx="7950201" cy="4071680"/>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grpSp>
      <p:sp>
        <p:nvSpPr>
          <p:cNvPr id="23" name="Content Placeholder 6">
            <a:extLst>
              <a:ext uri="{FF2B5EF4-FFF2-40B4-BE49-F238E27FC236}">
                <a16:creationId xmlns:a16="http://schemas.microsoft.com/office/drawing/2014/main" xmlns="" id="{360D0BF0-82B9-4621-83D0-018868ACB0FF}"/>
              </a:ext>
            </a:extLst>
          </p:cNvPr>
          <p:cNvSpPr txBox="1">
            <a:spLocks/>
          </p:cNvSpPr>
          <p:nvPr/>
        </p:nvSpPr>
        <p:spPr>
          <a:xfrm>
            <a:off x="5648440" y="2703901"/>
            <a:ext cx="4696188" cy="374191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endParaRPr lang="de-DE" sz="1600" u="sng" dirty="0" smtClean="0">
              <a:solidFill>
                <a:srgbClr val="572381"/>
              </a:solidFill>
            </a:endParaRPr>
          </a:p>
        </p:txBody>
      </p:sp>
      <p:sp>
        <p:nvSpPr>
          <p:cNvPr id="2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7" name="Content Placeholder 6">
            <a:extLst>
              <a:ext uri="{FF2B5EF4-FFF2-40B4-BE49-F238E27FC236}">
                <a16:creationId xmlns:a16="http://schemas.microsoft.com/office/drawing/2014/main" xmlns="" id="{360D0BF0-82B9-4621-83D0-018868ACB0FF}"/>
              </a:ext>
            </a:extLst>
          </p:cNvPr>
          <p:cNvSpPr txBox="1">
            <a:spLocks/>
          </p:cNvSpPr>
          <p:nvPr/>
        </p:nvSpPr>
        <p:spPr>
          <a:xfrm>
            <a:off x="6329486" y="2692644"/>
            <a:ext cx="4696188" cy="374191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de-DE" sz="1600" u="sng" dirty="0" smtClean="0">
                <a:solidFill>
                  <a:srgbClr val="572381"/>
                </a:solidFill>
              </a:rPr>
              <a:t>Buchungsblatt</a:t>
            </a:r>
          </a:p>
          <a:p>
            <a:pPr marL="285750" indent="-285750">
              <a:spcAft>
                <a:spcPts val="600"/>
              </a:spcAft>
              <a:buFont typeface="Symbol" panose="05050102010706020507" pitchFamily="18" charset="2"/>
              <a:buChar char="-"/>
            </a:pPr>
            <a:r>
              <a:rPr lang="de-DE" sz="1600" b="0" dirty="0" smtClean="0">
                <a:solidFill>
                  <a:srgbClr val="572381"/>
                </a:solidFill>
              </a:rPr>
              <a:t>Vollständiger Name und Anschrift des </a:t>
            </a:r>
          </a:p>
          <a:p>
            <a:pPr>
              <a:spcAft>
                <a:spcPts val="600"/>
              </a:spcAft>
            </a:pPr>
            <a:r>
              <a:rPr lang="de-DE" sz="1600" b="0" dirty="0">
                <a:solidFill>
                  <a:srgbClr val="572381"/>
                </a:solidFill>
              </a:rPr>
              <a:t> </a:t>
            </a:r>
            <a:r>
              <a:rPr lang="de-DE" sz="1600" b="0" dirty="0" smtClean="0">
                <a:solidFill>
                  <a:srgbClr val="572381"/>
                </a:solidFill>
              </a:rPr>
              <a:t>      leistenden Unternehmers</a:t>
            </a:r>
          </a:p>
          <a:p>
            <a:pPr marL="285750" indent="-285750">
              <a:spcAft>
                <a:spcPts val="600"/>
              </a:spcAft>
              <a:buFont typeface="Symbol" panose="05050102010706020507" pitchFamily="18" charset="2"/>
              <a:buChar char="-"/>
            </a:pPr>
            <a:r>
              <a:rPr lang="de-DE" sz="1600" b="0" dirty="0" smtClean="0">
                <a:solidFill>
                  <a:srgbClr val="572381"/>
                </a:solidFill>
              </a:rPr>
              <a:t>Bankdaten eintragen</a:t>
            </a:r>
          </a:p>
          <a:p>
            <a:pPr marL="285750" indent="-285750">
              <a:spcAft>
                <a:spcPts val="600"/>
              </a:spcAft>
              <a:buFont typeface="Symbol" panose="05050102010706020507" pitchFamily="18" charset="2"/>
              <a:buChar char="-"/>
            </a:pPr>
            <a:r>
              <a:rPr lang="de-DE" sz="1600" b="0" dirty="0" smtClean="0">
                <a:solidFill>
                  <a:srgbClr val="572381"/>
                </a:solidFill>
              </a:rPr>
              <a:t>Betrag einfügen</a:t>
            </a:r>
          </a:p>
          <a:p>
            <a:pPr marL="285750" indent="-285750">
              <a:spcAft>
                <a:spcPts val="600"/>
              </a:spcAft>
              <a:buFont typeface="Symbol" panose="05050102010706020507" pitchFamily="18" charset="2"/>
              <a:buChar char="-"/>
            </a:pPr>
            <a:r>
              <a:rPr lang="de-DE" sz="1600" b="0" dirty="0" smtClean="0">
                <a:solidFill>
                  <a:srgbClr val="572381"/>
                </a:solidFill>
              </a:rPr>
              <a:t>Abrechnungsobjekt und Sachkonto eintragen</a:t>
            </a:r>
          </a:p>
          <a:p>
            <a:pPr marL="285750" indent="-285750">
              <a:spcAft>
                <a:spcPts val="600"/>
              </a:spcAft>
              <a:buFont typeface="Symbol" panose="05050102010706020507" pitchFamily="18" charset="2"/>
              <a:buChar char="-"/>
            </a:pPr>
            <a:r>
              <a:rPr lang="de-DE" sz="1600" b="0" dirty="0" smtClean="0">
                <a:solidFill>
                  <a:srgbClr val="572381"/>
                </a:solidFill>
              </a:rPr>
              <a:t>Buchungstext eingeben</a:t>
            </a:r>
            <a:endParaRPr lang="de-DE" sz="1600" b="0" dirty="0">
              <a:solidFill>
                <a:schemeClr val="tx1"/>
              </a:solidFill>
            </a:endParaRPr>
          </a:p>
        </p:txBody>
      </p:sp>
    </p:spTree>
    <p:extLst>
      <p:ext uri="{BB962C8B-B14F-4D97-AF65-F5344CB8AC3E}">
        <p14:creationId xmlns:p14="http://schemas.microsoft.com/office/powerpoint/2010/main" val="6454494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7</a:t>
            </a:fld>
            <a:endParaRPr lang="de-DE" altLang="en-US"/>
          </a:p>
        </p:txBody>
      </p:sp>
      <p:sp>
        <p:nvSpPr>
          <p:cNvPr id="7" name="Titel 6"/>
          <p:cNvSpPr>
            <a:spLocks noGrp="1"/>
          </p:cNvSpPr>
          <p:nvPr>
            <p:ph type="title"/>
          </p:nvPr>
        </p:nvSpPr>
        <p:spPr>
          <a:xfrm>
            <a:off x="1010420" y="476672"/>
            <a:ext cx="4815010" cy="379140"/>
          </a:xfrm>
        </p:spPr>
        <p:txBody>
          <a:bodyPr/>
          <a:lstStyle/>
          <a:p>
            <a:r>
              <a:rPr lang="de-DE" dirty="0"/>
              <a:t>Systematische </a:t>
            </a:r>
            <a:r>
              <a:rPr lang="de-DE" dirty="0" smtClean="0"/>
              <a:t>Bearbeitung</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76672"/>
            <a:ext cx="9553209" cy="576064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smtClean="0">
                    <a:solidFill>
                      <a:schemeClr val="bg1"/>
                    </a:solidFill>
                    <a:latin typeface="Calibri" panose="020F0502020204030204" pitchFamily="34" charset="0"/>
                    <a:cs typeface="Calibri" panose="020F0502020204030204" pitchFamily="34" charset="0"/>
                  </a:rPr>
                  <a:t>Buchungsblatt</a:t>
                </a:r>
                <a:endParaRPr lang="de-DE" sz="2000" b="1" dirty="0">
                  <a:solidFill>
                    <a:schemeClr val="bg1"/>
                  </a:solidFill>
                  <a:latin typeface="Calibri" panose="020F0502020204030204" pitchFamily="34" charset="0"/>
                  <a:cs typeface="Calibri" panose="020F0502020204030204" pitchFamily="34" charset="0"/>
                </a:endParaRPr>
              </a:p>
            </p:txBody>
          </p:sp>
        </p:grpSp>
      </p:grpSp>
      <p:pic>
        <p:nvPicPr>
          <p:cNvPr id="35842" name="Picture 2" descr="C:\Users\croth\Desktop\Schulung\Buchungsblatt KReh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1454" y="2146994"/>
            <a:ext cx="4305300" cy="32670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Users\croth\Desktop\Schulung\Eingangsrechnu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6958" y="1613814"/>
            <a:ext cx="3518882" cy="4511035"/>
          </a:xfrm>
          <a:prstGeom prst="rect">
            <a:avLst/>
          </a:pr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1059750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pPr>
              <a:defRPr/>
            </a:pPr>
            <a:fld id="{C847CE53-EC29-48D4-8DF8-E3E0DC6EA83A}" type="datetime1">
              <a:rPr lang="de-DE" altLang="en-US" smtClean="0"/>
              <a:t>06.07.2021</a:t>
            </a:fld>
            <a:endParaRPr lang="de-DE" altLang="en-US"/>
          </a:p>
        </p:txBody>
      </p:sp>
      <p:sp>
        <p:nvSpPr>
          <p:cNvPr id="5" name="Fußzeilenplatzhalter 4"/>
          <p:cNvSpPr>
            <a:spLocks noGrp="1"/>
          </p:cNvSpPr>
          <p:nvPr>
            <p:ph type="ftr" sz="quarter" idx="11"/>
          </p:nvPr>
        </p:nvSpPr>
        <p:spPr/>
        <p:txBody>
          <a:bodyPr/>
          <a:lstStyle/>
          <a:p>
            <a:pPr>
              <a:defRPr/>
            </a:pPr>
            <a:r>
              <a:rPr lang="de-DE" altLang="en-US" smtClean="0"/>
              <a:t>EKHN</a:t>
            </a:r>
            <a:endParaRPr lang="de-DE" altLang="en-US"/>
          </a:p>
        </p:txBody>
      </p:sp>
      <p:sp>
        <p:nvSpPr>
          <p:cNvPr id="6" name="Foliennummernplatzhalter 5"/>
          <p:cNvSpPr>
            <a:spLocks noGrp="1"/>
          </p:cNvSpPr>
          <p:nvPr>
            <p:ph type="sldNum" sz="quarter" idx="12"/>
          </p:nvPr>
        </p:nvSpPr>
        <p:spPr/>
        <p:txBody>
          <a:bodyPr/>
          <a:lstStyle/>
          <a:p>
            <a:pPr>
              <a:defRPr/>
            </a:pPr>
            <a:fld id="{10C5E703-D0E0-4917-81EE-20874279E3D4}" type="slidenum">
              <a:rPr lang="de-DE" altLang="en-US" smtClean="0"/>
              <a:pPr>
                <a:defRPr/>
              </a:pPr>
              <a:t>58</a:t>
            </a:fld>
            <a:endParaRPr lang="de-DE" altLang="en-US"/>
          </a:p>
        </p:txBody>
      </p:sp>
      <p:sp>
        <p:nvSpPr>
          <p:cNvPr id="7" name="Titel 6"/>
          <p:cNvSpPr>
            <a:spLocks noGrp="1"/>
          </p:cNvSpPr>
          <p:nvPr>
            <p:ph type="title"/>
          </p:nvPr>
        </p:nvSpPr>
        <p:spPr>
          <a:xfrm>
            <a:off x="1010420" y="476672"/>
            <a:ext cx="8199386" cy="379140"/>
          </a:xfrm>
        </p:spPr>
        <p:txBody>
          <a:bodyPr/>
          <a:lstStyle/>
          <a:p>
            <a:r>
              <a:rPr lang="de-DE" dirty="0" smtClean="0"/>
              <a:t>Zusammenarbeit zwischen Regionalverwaltung und Kirchengemeinde</a:t>
            </a:r>
            <a:endParaRPr lang="de-DE" dirty="0"/>
          </a:p>
        </p:txBody>
      </p:sp>
      <p:grpSp>
        <p:nvGrpSpPr>
          <p:cNvPr id="29" name="Group 5">
            <a:extLst>
              <a:ext uri="{FF2B5EF4-FFF2-40B4-BE49-F238E27FC236}">
                <a16:creationId xmlns:a16="http://schemas.microsoft.com/office/drawing/2014/main" xmlns="" id="{9DBCFA2E-73BF-42C7-AFB3-FF8D1C91B435}"/>
              </a:ext>
            </a:extLst>
          </p:cNvPr>
          <p:cNvGrpSpPr/>
          <p:nvPr/>
        </p:nvGrpSpPr>
        <p:grpSpPr>
          <a:xfrm>
            <a:off x="1336882" y="476672"/>
            <a:ext cx="9553209" cy="5760640"/>
            <a:chOff x="2128665" y="1799784"/>
            <a:chExt cx="7950201" cy="4952635"/>
          </a:xfrm>
        </p:grpSpPr>
        <p:sp>
          <p:nvSpPr>
            <p:cNvPr id="32" name="Content Placeholder 6">
              <a:extLst>
                <a:ext uri="{FF2B5EF4-FFF2-40B4-BE49-F238E27FC236}">
                  <a16:creationId xmlns:a16="http://schemas.microsoft.com/office/drawing/2014/main" xmlns="" id="{360D0BF0-82B9-4621-83D0-018868ACB0FF}"/>
                </a:ext>
              </a:extLst>
            </p:cNvPr>
            <p:cNvSpPr txBox="1">
              <a:spLocks/>
            </p:cNvSpPr>
            <p:nvPr/>
          </p:nvSpPr>
          <p:spPr>
            <a:xfrm>
              <a:off x="4905241" y="1799784"/>
              <a:ext cx="4763790" cy="4668776"/>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de-DE" sz="1600" dirty="0">
                  <a:solidFill>
                    <a:schemeClr val="tx1"/>
                  </a:solidFill>
                </a:rPr>
                <a:t/>
              </a:r>
              <a:br>
                <a:rPr lang="de-DE" sz="1600" dirty="0">
                  <a:solidFill>
                    <a:schemeClr val="tx1"/>
                  </a:solidFill>
                </a:rPr>
              </a:br>
              <a:endParaRPr lang="de-DE" sz="1600" dirty="0">
                <a:solidFill>
                  <a:schemeClr val="tx1"/>
                </a:solidFill>
              </a:endParaRPr>
            </a:p>
            <a:p>
              <a:pPr>
                <a:spcAft>
                  <a:spcPts val="600"/>
                </a:spcAft>
              </a:pPr>
              <a:endParaRPr lang="de-DE" sz="1600" dirty="0">
                <a:solidFill>
                  <a:schemeClr val="tx1"/>
                </a:solidFill>
              </a:endParaRPr>
            </a:p>
          </p:txBody>
        </p:sp>
        <p:grpSp>
          <p:nvGrpSpPr>
            <p:cNvPr id="34" name="Group 1">
              <a:extLst>
                <a:ext uri="{FF2B5EF4-FFF2-40B4-BE49-F238E27FC236}">
                  <a16:creationId xmlns:a16="http://schemas.microsoft.com/office/drawing/2014/main" xmlns="" id="{319187B1-4131-42DA-ACA1-DC136D5F0AAE}"/>
                </a:ext>
              </a:extLst>
            </p:cNvPr>
            <p:cNvGrpSpPr/>
            <p:nvPr/>
          </p:nvGrpSpPr>
          <p:grpSpPr>
            <a:xfrm>
              <a:off x="2128665" y="2371455"/>
              <a:ext cx="7950201" cy="4380964"/>
              <a:chOff x="1963820" y="1974441"/>
              <a:chExt cx="7950201" cy="5044881"/>
            </a:xfrm>
          </p:grpSpPr>
          <p:sp>
            <p:nvSpPr>
              <p:cNvPr id="36" name="Rectangle 18">
                <a:extLst>
                  <a:ext uri="{FF2B5EF4-FFF2-40B4-BE49-F238E27FC236}">
                    <a16:creationId xmlns:a16="http://schemas.microsoft.com/office/drawing/2014/main" xmlns="" id="{A0407787-D308-481C-BA84-4558324D1569}"/>
                  </a:ext>
                </a:extLst>
              </p:cNvPr>
              <p:cNvSpPr/>
              <p:nvPr/>
            </p:nvSpPr>
            <p:spPr>
              <a:xfrm>
                <a:off x="1963820" y="2330596"/>
                <a:ext cx="7950201" cy="4688726"/>
              </a:xfrm>
              <a:prstGeom prst="rect">
                <a:avLst/>
              </a:prstGeom>
              <a:noFill/>
              <a:ln>
                <a:solidFill>
                  <a:schemeClr val="tx1">
                    <a:lumMod val="75000"/>
                    <a:lumOff val="2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0000"/>
                  </a:lnSpc>
                </a:pPr>
                <a:endParaRPr lang="de-DE" sz="1600" dirty="0"/>
              </a:p>
            </p:txBody>
          </p:sp>
          <p:sp>
            <p:nvSpPr>
              <p:cNvPr id="37" name="AutoShape 3">
                <a:extLst>
                  <a:ext uri="{FF2B5EF4-FFF2-40B4-BE49-F238E27FC236}">
                    <a16:creationId xmlns:a16="http://schemas.microsoft.com/office/drawing/2014/main" xmlns="" id="{6DABC4E9-9F27-4445-960E-3BBBAC6104C5}"/>
                  </a:ext>
                </a:extLst>
              </p:cNvPr>
              <p:cNvSpPr>
                <a:spLocks noChangeArrowheads="1"/>
              </p:cNvSpPr>
              <p:nvPr/>
            </p:nvSpPr>
            <p:spPr bwMode="auto">
              <a:xfrm>
                <a:off x="2269026" y="1974441"/>
                <a:ext cx="7339787" cy="356155"/>
              </a:xfrm>
              <a:prstGeom prst="rect">
                <a:avLst/>
              </a:prstGeom>
              <a:solidFill>
                <a:srgbClr val="5D0B7A"/>
              </a:solidFill>
              <a:ln w="12700">
                <a:noFill/>
                <a:miter lim="800000"/>
                <a:headEnd/>
                <a:tailEnd/>
              </a:ln>
              <a:effectLst/>
            </p:spPr>
            <p:txBody>
              <a:bodyPr vert="horz" lIns="36000" tIns="72000" rIns="36000" bIns="72000" anchor="ctr" anchorCtr="0">
                <a:noAutofit/>
              </a:bodyPr>
              <a:lstStyle/>
              <a:p>
                <a:pPr algn="ctr"/>
                <a:r>
                  <a:rPr lang="de-DE" sz="2000" b="1" dirty="0" err="1" smtClean="0">
                    <a:solidFill>
                      <a:schemeClr val="bg1"/>
                    </a:solidFill>
                    <a:latin typeface="Calibri" panose="020F0502020204030204" pitchFamily="34" charset="0"/>
                    <a:cs typeface="Calibri" panose="020F0502020204030204" pitchFamily="34" charset="0"/>
                  </a:rPr>
                  <a:t>USt</a:t>
                </a:r>
                <a:r>
                  <a:rPr lang="de-DE" sz="2000" b="1" dirty="0" smtClean="0">
                    <a:solidFill>
                      <a:schemeClr val="bg1"/>
                    </a:solidFill>
                    <a:latin typeface="Calibri" panose="020F0502020204030204" pitchFamily="34" charset="0"/>
                    <a:cs typeface="Calibri" panose="020F0502020204030204" pitchFamily="34" charset="0"/>
                  </a:rPr>
                  <a:t>-VA</a:t>
                </a:r>
                <a:endParaRPr lang="de-DE" sz="2000" b="1" dirty="0">
                  <a:solidFill>
                    <a:schemeClr val="bg1"/>
                  </a:solidFill>
                  <a:latin typeface="Calibri" panose="020F0502020204030204" pitchFamily="34" charset="0"/>
                  <a:cs typeface="Calibri" panose="020F0502020204030204" pitchFamily="34" charset="0"/>
                </a:endParaRPr>
              </a:p>
            </p:txBody>
          </p:sp>
        </p:grpSp>
      </p:grpSp>
      <p:sp>
        <p:nvSpPr>
          <p:cNvPr id="13" name="Content Placeholder 6">
            <a:extLst>
              <a:ext uri="{FF2B5EF4-FFF2-40B4-BE49-F238E27FC236}">
                <a16:creationId xmlns:a16="http://schemas.microsoft.com/office/drawing/2014/main" xmlns="" id="{360D0BF0-82B9-4621-83D0-018868ACB0FF}"/>
              </a:ext>
            </a:extLst>
          </p:cNvPr>
          <p:cNvSpPr txBox="1">
            <a:spLocks/>
          </p:cNvSpPr>
          <p:nvPr/>
        </p:nvSpPr>
        <p:spPr>
          <a:xfrm>
            <a:off x="1557942" y="1628800"/>
            <a:ext cx="8839678" cy="4745009"/>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endParaRPr lang="de-DE" sz="1600" u="sng" dirty="0" smtClean="0">
              <a:solidFill>
                <a:srgbClr val="572381"/>
              </a:solidFill>
            </a:endParaRPr>
          </a:p>
          <a:p>
            <a:pPr>
              <a:spcAft>
                <a:spcPts val="600"/>
              </a:spcAft>
            </a:pPr>
            <a:r>
              <a:rPr lang="de-DE" sz="1600" u="sng" dirty="0" smtClean="0">
                <a:solidFill>
                  <a:srgbClr val="572381"/>
                </a:solidFill>
              </a:rPr>
              <a:t>Weitere </a:t>
            </a:r>
            <a:r>
              <a:rPr lang="de-DE" sz="1600" u="sng" dirty="0">
                <a:solidFill>
                  <a:srgbClr val="572381"/>
                </a:solidFill>
              </a:rPr>
              <a:t>Vorgehensweise</a:t>
            </a:r>
          </a:p>
          <a:p>
            <a:pPr marL="285750" indent="-285750">
              <a:spcAft>
                <a:spcPts val="600"/>
              </a:spcAft>
              <a:buFont typeface="Symbol" panose="05050102010706020507" pitchFamily="18" charset="2"/>
              <a:buChar char="-"/>
            </a:pPr>
            <a:r>
              <a:rPr lang="de-DE" sz="1600" u="sng" dirty="0">
                <a:solidFill>
                  <a:srgbClr val="572381"/>
                </a:solidFill>
              </a:rPr>
              <a:t>Kirchengemeinde</a:t>
            </a:r>
          </a:p>
          <a:p>
            <a:pPr marL="466725" lvl="2" indent="-285750">
              <a:buFont typeface="Symbol" panose="05050102010706020507" pitchFamily="18" charset="2"/>
              <a:buChar char="-"/>
            </a:pPr>
            <a:r>
              <a:rPr lang="de-DE" sz="1400" dirty="0">
                <a:solidFill>
                  <a:srgbClr val="572381"/>
                </a:solidFill>
              </a:rPr>
              <a:t>Sammeln und dokumentieren sämtlicher </a:t>
            </a:r>
            <a:r>
              <a:rPr lang="de-DE" sz="1400" dirty="0" smtClean="0">
                <a:solidFill>
                  <a:srgbClr val="572381"/>
                </a:solidFill>
              </a:rPr>
              <a:t>Geschäftsvorfälle, </a:t>
            </a:r>
            <a:r>
              <a:rPr lang="de-DE" sz="1400" dirty="0">
                <a:solidFill>
                  <a:srgbClr val="572381"/>
                </a:solidFill>
              </a:rPr>
              <a:t>Belege mit Verwendungszweck versehen</a:t>
            </a:r>
          </a:p>
          <a:p>
            <a:pPr marL="466725" lvl="2" indent="-285750">
              <a:buFont typeface="Symbol" panose="05050102010706020507" pitchFamily="18" charset="2"/>
              <a:buChar char="-"/>
            </a:pPr>
            <a:r>
              <a:rPr lang="de-DE" sz="1400" dirty="0" smtClean="0">
                <a:solidFill>
                  <a:srgbClr val="572381"/>
                </a:solidFill>
              </a:rPr>
              <a:t>Erstangabe zur steuerlichen Behandlung auf Ertragsseite durch Sachkontenauswahl</a:t>
            </a:r>
          </a:p>
          <a:p>
            <a:pPr marL="466725" lvl="2" indent="-285750">
              <a:buFont typeface="Symbol" panose="05050102010706020507" pitchFamily="18" charset="2"/>
              <a:buChar char="-"/>
            </a:pPr>
            <a:r>
              <a:rPr lang="de-DE" sz="1400" dirty="0" smtClean="0">
                <a:solidFill>
                  <a:srgbClr val="572381"/>
                </a:solidFill>
              </a:rPr>
              <a:t>Verwendung neuer Formulare für Handkasse, Veranstaltung, Ausgangs(Ertrags-)</a:t>
            </a:r>
            <a:r>
              <a:rPr lang="de-DE" sz="1400" dirty="0" err="1" smtClean="0">
                <a:solidFill>
                  <a:srgbClr val="572381"/>
                </a:solidFill>
              </a:rPr>
              <a:t>rechnung</a:t>
            </a:r>
            <a:endParaRPr lang="de-DE" sz="1400" dirty="0">
              <a:solidFill>
                <a:srgbClr val="572381"/>
              </a:solidFill>
            </a:endParaRPr>
          </a:p>
          <a:p>
            <a:pPr marL="466725" lvl="2" indent="-285750">
              <a:buFont typeface="Symbol" panose="05050102010706020507" pitchFamily="18" charset="2"/>
              <a:buChar char="-"/>
            </a:pPr>
            <a:r>
              <a:rPr lang="de-DE" sz="1400" dirty="0">
                <a:solidFill>
                  <a:srgbClr val="572381"/>
                </a:solidFill>
              </a:rPr>
              <a:t>Zusammenstellung der </a:t>
            </a:r>
            <a:r>
              <a:rPr lang="de-DE" sz="1400" dirty="0" smtClean="0">
                <a:solidFill>
                  <a:srgbClr val="572381"/>
                </a:solidFill>
              </a:rPr>
              <a:t>Belege und </a:t>
            </a:r>
            <a:r>
              <a:rPr lang="de-DE" sz="1400" dirty="0" smtClean="0">
                <a:solidFill>
                  <a:srgbClr val="572381"/>
                </a:solidFill>
              </a:rPr>
              <a:t>Versand </a:t>
            </a:r>
            <a:r>
              <a:rPr lang="de-DE" sz="1400" dirty="0">
                <a:solidFill>
                  <a:srgbClr val="572381"/>
                </a:solidFill>
              </a:rPr>
              <a:t>an Regionalverwaltung (wöchentlich)</a:t>
            </a:r>
          </a:p>
          <a:p>
            <a:pPr lvl="2" indent="0">
              <a:buNone/>
            </a:pPr>
            <a:endParaRPr lang="de-DE" sz="1400" dirty="0">
              <a:solidFill>
                <a:srgbClr val="572381"/>
              </a:solidFill>
            </a:endParaRPr>
          </a:p>
          <a:p>
            <a:pPr marL="269875" lvl="2" indent="-269875">
              <a:buFont typeface="Symbol" panose="05050102010706020507" pitchFamily="18" charset="2"/>
              <a:buChar char="-"/>
            </a:pPr>
            <a:r>
              <a:rPr lang="de-DE" b="1" u="sng" dirty="0">
                <a:solidFill>
                  <a:srgbClr val="572381"/>
                </a:solidFill>
              </a:rPr>
              <a:t>Regionalverwaltung</a:t>
            </a:r>
          </a:p>
          <a:p>
            <a:pPr marL="466725" lvl="2" indent="-285750">
              <a:buFont typeface="Symbol" panose="05050102010706020507" pitchFamily="18" charset="2"/>
              <a:buChar char="-"/>
            </a:pPr>
            <a:r>
              <a:rPr lang="de-DE" sz="1400" dirty="0">
                <a:solidFill>
                  <a:srgbClr val="572381"/>
                </a:solidFill>
              </a:rPr>
              <a:t>Durchsicht und ggf. Rückfragen der </a:t>
            </a:r>
            <a:r>
              <a:rPr lang="de-DE" sz="1400" dirty="0" smtClean="0">
                <a:solidFill>
                  <a:srgbClr val="572381"/>
                </a:solidFill>
              </a:rPr>
              <a:t>Regionalverwaltung, Prüfungsanfragen an Kirchenverwaltung</a:t>
            </a:r>
            <a:endParaRPr lang="de-DE" sz="1400" dirty="0">
              <a:solidFill>
                <a:srgbClr val="572381"/>
              </a:solidFill>
            </a:endParaRPr>
          </a:p>
          <a:p>
            <a:pPr marL="466725" lvl="2" indent="-285750">
              <a:buFont typeface="Symbol" panose="05050102010706020507" pitchFamily="18" charset="2"/>
              <a:buChar char="-"/>
            </a:pPr>
            <a:r>
              <a:rPr lang="de-DE" sz="1400" dirty="0">
                <a:solidFill>
                  <a:srgbClr val="572381"/>
                </a:solidFill>
              </a:rPr>
              <a:t>Erfassung der Geschäftsvorfälle auf Basis der übersandten </a:t>
            </a:r>
            <a:r>
              <a:rPr lang="de-DE" sz="1400" dirty="0" smtClean="0">
                <a:solidFill>
                  <a:srgbClr val="572381"/>
                </a:solidFill>
              </a:rPr>
              <a:t>Belege</a:t>
            </a:r>
          </a:p>
          <a:p>
            <a:pPr marL="466725" lvl="2" indent="-285750">
              <a:buFont typeface="Symbol" panose="05050102010706020507" pitchFamily="18" charset="2"/>
              <a:buChar char="-"/>
            </a:pPr>
            <a:r>
              <a:rPr lang="de-DE" sz="1400" dirty="0" smtClean="0">
                <a:solidFill>
                  <a:srgbClr val="572381"/>
                </a:solidFill>
              </a:rPr>
              <a:t>Prüfung Kleinunternehmereigenschaft</a:t>
            </a:r>
            <a:endParaRPr lang="de-DE" sz="1400" dirty="0">
              <a:solidFill>
                <a:srgbClr val="572381"/>
              </a:solidFill>
            </a:endParaRPr>
          </a:p>
          <a:p>
            <a:pPr marL="466725" lvl="2" indent="-285750">
              <a:buFont typeface="Symbol" panose="05050102010706020507" pitchFamily="18" charset="2"/>
              <a:buChar char="-"/>
            </a:pPr>
            <a:r>
              <a:rPr lang="de-DE" sz="1400" dirty="0">
                <a:solidFill>
                  <a:srgbClr val="572381"/>
                </a:solidFill>
              </a:rPr>
              <a:t>Übermittlung Voranmeldung über ELSTER an </a:t>
            </a:r>
            <a:r>
              <a:rPr lang="de-DE" sz="1400" dirty="0" smtClean="0">
                <a:solidFill>
                  <a:srgbClr val="572381"/>
                </a:solidFill>
              </a:rPr>
              <a:t>das </a:t>
            </a:r>
            <a:r>
              <a:rPr lang="de-DE" sz="1400" dirty="0">
                <a:solidFill>
                  <a:srgbClr val="572381"/>
                </a:solidFill>
              </a:rPr>
              <a:t>Finanzamt </a:t>
            </a:r>
          </a:p>
          <a:p>
            <a:pPr marL="285750" indent="-285750">
              <a:spcAft>
                <a:spcPts val="600"/>
              </a:spcAft>
              <a:buFont typeface="Symbol" panose="05050102010706020507" pitchFamily="18" charset="2"/>
              <a:buChar char="-"/>
            </a:pPr>
            <a:endParaRPr lang="de-DE" sz="1600" b="0" dirty="0" smtClean="0">
              <a:solidFill>
                <a:srgbClr val="572381"/>
              </a:solidFill>
            </a:endParaRPr>
          </a:p>
        </p:txBody>
      </p:sp>
      <p:sp>
        <p:nvSpPr>
          <p:cNvPr id="14"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4324443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59</a:t>
            </a:fld>
            <a:endParaRPr lang="de-DE" altLang="en-US"/>
          </a:p>
        </p:txBody>
      </p:sp>
      <p:sp>
        <p:nvSpPr>
          <p:cNvPr id="6" name="Titel 5"/>
          <p:cNvSpPr>
            <a:spLocks noGrp="1"/>
          </p:cNvSpPr>
          <p:nvPr>
            <p:ph type="title"/>
          </p:nvPr>
        </p:nvSpPr>
        <p:spPr>
          <a:xfrm>
            <a:off x="1010420" y="476672"/>
            <a:ext cx="8415410" cy="379140"/>
          </a:xfrm>
        </p:spPr>
        <p:txBody>
          <a:bodyPr/>
          <a:lstStyle/>
          <a:p>
            <a:r>
              <a:rPr lang="de-DE" dirty="0"/>
              <a:t>Zusammenarbeit zwischen Regionalverwaltung und Kirchengemeinde</a:t>
            </a:r>
          </a:p>
        </p:txBody>
      </p:sp>
      <p:pic>
        <p:nvPicPr>
          <p:cNvPr id="37890" name="Picture 2" descr="C:\Users\croth\Desktop\Schulung\UStVA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830" y="990694"/>
            <a:ext cx="7146208" cy="3162920"/>
          </a:xfrm>
          <a:prstGeom prst="rect">
            <a:avLst/>
          </a:prstGeom>
          <a:noFill/>
          <a:extLst>
            <a:ext uri="{909E8E84-426E-40DD-AFC4-6F175D3DCCD1}">
              <a14:hiddenFill xmlns:a14="http://schemas.microsoft.com/office/drawing/2010/main">
                <a:solidFill>
                  <a:srgbClr val="FFFFFF"/>
                </a:solidFill>
              </a14:hiddenFill>
            </a:ext>
          </a:extLst>
        </p:spPr>
      </p:pic>
      <p:pic>
        <p:nvPicPr>
          <p:cNvPr id="37891" name="Picture 3" descr="C:\Users\croth\Desktop\Schulung\UStVA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6401" y="3861048"/>
            <a:ext cx="9448800" cy="641350"/>
          </a:xfrm>
          <a:prstGeom prst="rect">
            <a:avLst/>
          </a:prstGeom>
          <a:noFill/>
          <a:extLst>
            <a:ext uri="{909E8E84-426E-40DD-AFC4-6F175D3DCCD1}">
              <a14:hiddenFill xmlns:a14="http://schemas.microsoft.com/office/drawing/2010/main">
                <a:solidFill>
                  <a:srgbClr val="FFFFFF"/>
                </a:solidFill>
              </a14:hiddenFill>
            </a:ext>
          </a:extLst>
        </p:spPr>
      </p:pic>
      <p:pic>
        <p:nvPicPr>
          <p:cNvPr id="37892" name="Picture 4" descr="C:\Users\croth\Desktop\Schulung\UStVA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2902" y="4561591"/>
            <a:ext cx="9372600" cy="628650"/>
          </a:xfrm>
          <a:prstGeom prst="rect">
            <a:avLst/>
          </a:prstGeom>
          <a:noFill/>
          <a:extLst>
            <a:ext uri="{909E8E84-426E-40DD-AFC4-6F175D3DCCD1}">
              <a14:hiddenFill xmlns:a14="http://schemas.microsoft.com/office/drawing/2010/main">
                <a:solidFill>
                  <a:srgbClr val="FFFFFF"/>
                </a:solidFill>
              </a14:hiddenFill>
            </a:ext>
          </a:extLst>
        </p:spPr>
      </p:pic>
      <p:pic>
        <p:nvPicPr>
          <p:cNvPr id="37893" name="Picture 5" descr="C:\Users\croth\Desktop\Schulung\UStVA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6401" y="5229200"/>
            <a:ext cx="9309101" cy="4318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956913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317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xmlns="" id="{69FA594D-068A-418E-BA54-CAC58EBE7D7F}"/>
              </a:ext>
            </a:extLst>
          </p:cNvPr>
          <p:cNvGrpSpPr/>
          <p:nvPr/>
        </p:nvGrpSpPr>
        <p:grpSpPr>
          <a:xfrm>
            <a:off x="992338" y="2378669"/>
            <a:ext cx="10790406" cy="493997"/>
            <a:chOff x="989504" y="2378667"/>
            <a:chExt cx="10759584" cy="493997"/>
          </a:xfrm>
        </p:grpSpPr>
        <p:sp>
          <p:nvSpPr>
            <p:cNvPr id="9" name="TextBox 8">
              <a:extLst>
                <a:ext uri="{FF2B5EF4-FFF2-40B4-BE49-F238E27FC236}">
                  <a16:creationId xmlns:a16="http://schemas.microsoft.com/office/drawing/2014/main" xmlns="" id="{6D798B9E-E704-4F89-A037-921DD56A97E4}"/>
                </a:ext>
              </a:extLst>
            </p:cNvPr>
            <p:cNvSpPr txBox="1"/>
            <p:nvPr/>
          </p:nvSpPr>
          <p:spPr>
            <a:xfrm>
              <a:off x="1524000" y="2378667"/>
              <a:ext cx="10225088" cy="493997"/>
            </a:xfrm>
            <a:prstGeom prst="rect">
              <a:avLst/>
            </a:prstGeom>
          </p:spPr>
          <p:txBody>
            <a:bodyPr vert="horz" wrap="square" lIns="0" tIns="0" rIns="0" bIns="0" rtlCol="0" anchor="t" anchorCtr="0">
              <a:noAutofit/>
            </a:bodyPr>
            <a:lstStyle/>
            <a:p>
              <a:pPr>
                <a:spcAft>
                  <a:spcPts val="600"/>
                </a:spcAft>
              </a:pPr>
              <a:r>
                <a:rPr lang="de-DE" sz="3600" b="1" spc="300" dirty="0">
                  <a:solidFill>
                    <a:srgbClr val="5D0B7A"/>
                  </a:solidFill>
                  <a:latin typeface="Calibri" panose="020F0502020204030204" pitchFamily="34" charset="0"/>
                  <a:cs typeface="Calibri" panose="020F0502020204030204" pitchFamily="34" charset="0"/>
                </a:rPr>
                <a:t>RECHTLICHE RAHMENBEDINGUNGEN</a:t>
              </a:r>
            </a:p>
          </p:txBody>
        </p:sp>
        <p:sp>
          <p:nvSpPr>
            <p:cNvPr id="7" name="TextBox 6">
              <a:extLst>
                <a:ext uri="{FF2B5EF4-FFF2-40B4-BE49-F238E27FC236}">
                  <a16:creationId xmlns:a16="http://schemas.microsoft.com/office/drawing/2014/main" xmlns="" id="{E5B32B15-4453-4506-B6C0-76502441AD4C}"/>
                </a:ext>
              </a:extLst>
            </p:cNvPr>
            <p:cNvSpPr txBox="1"/>
            <p:nvPr/>
          </p:nvSpPr>
          <p:spPr>
            <a:xfrm>
              <a:off x="989504" y="2488880"/>
              <a:ext cx="348408" cy="350572"/>
            </a:xfrm>
            <a:prstGeom prst="rect">
              <a:avLst/>
            </a:prstGeom>
            <a:solidFill>
              <a:srgbClr val="572381"/>
            </a:solidFill>
            <a:ln>
              <a:solidFill>
                <a:srgbClr val="572381"/>
              </a:solidFill>
            </a:ln>
          </p:spPr>
          <p:txBody>
            <a:bodyPr wrap="square" lIns="0" tIns="0" rIns="0" bIns="0" rtlCol="0" anchor="ctr">
              <a:noAutofit/>
            </a:bodyPr>
            <a:lstStyle/>
            <a:p>
              <a:pPr algn="ctr">
                <a:lnSpc>
                  <a:spcPct val="100000"/>
                </a:lnSpc>
                <a:spcAft>
                  <a:spcPts val="600"/>
                </a:spcAft>
                <a:buSzPct val="100000"/>
              </a:pPr>
              <a:r>
                <a:rPr lang="de-DE" sz="2000" b="1" dirty="0" smtClean="0">
                  <a:solidFill>
                    <a:schemeClr val="bg1"/>
                  </a:solidFill>
                  <a:latin typeface="Calibri" panose="020F0502020204030204" pitchFamily="34" charset="0"/>
                  <a:cs typeface="Calibri" panose="020F0502020204030204" pitchFamily="34" charset="0"/>
                </a:rPr>
                <a:t>2</a:t>
              </a:r>
              <a:endParaRPr lang="de-DE" sz="2000" b="1" dirty="0">
                <a:solidFill>
                  <a:schemeClr val="bg1"/>
                </a:solidFill>
                <a:latin typeface="Calibri" panose="020F0502020204030204" pitchFamily="34" charset="0"/>
                <a:cs typeface="Calibri" panose="020F0502020204030204" pitchFamily="34" charset="0"/>
              </a:endParaRPr>
            </a:p>
          </p:txBody>
        </p:sp>
      </p:grpSp>
      <p:sp>
        <p:nvSpPr>
          <p:cNvPr id="4" name="Date Placeholder 3">
            <a:extLst>
              <a:ext uri="{FF2B5EF4-FFF2-40B4-BE49-F238E27FC236}">
                <a16:creationId xmlns:a16="http://schemas.microsoft.com/office/drawing/2014/main" xmlns="" id="{4AD3C0E2-9EF0-4A9C-8052-CA4CDD399A33}"/>
              </a:ext>
            </a:extLst>
          </p:cNvPr>
          <p:cNvSpPr>
            <a:spLocks noGrp="1"/>
          </p:cNvSpPr>
          <p:nvPr>
            <p:ph type="dt" sz="half" idx="10"/>
          </p:nvPr>
        </p:nvSpPr>
        <p:spPr/>
        <p:txBody>
          <a:bodyPr/>
          <a:lstStyle/>
          <a:p>
            <a:fld id="{9AE223D9-490C-40D7-92E7-A18C670E053F}" type="datetime1">
              <a:rPr lang="de-DE" smtClean="0"/>
              <a:t>06.07.2021</a:t>
            </a:fld>
            <a:endParaRPr lang="de-DE" dirty="0"/>
          </a:p>
        </p:txBody>
      </p:sp>
      <p:sp>
        <p:nvSpPr>
          <p:cNvPr id="5" name="Footer Placeholder 4">
            <a:extLst>
              <a:ext uri="{FF2B5EF4-FFF2-40B4-BE49-F238E27FC236}">
                <a16:creationId xmlns:a16="http://schemas.microsoft.com/office/drawing/2014/main" xmlns="" id="{3FFAC5ED-EB9D-41CA-9760-93E4937B6595}"/>
              </a:ext>
            </a:extLst>
          </p:cNvPr>
          <p:cNvSpPr>
            <a:spLocks noGrp="1"/>
          </p:cNvSpPr>
          <p:nvPr>
            <p:ph type="ftr" sz="quarter" idx="11"/>
          </p:nvPr>
        </p:nvSpPr>
        <p:spPr/>
        <p:txBody>
          <a:bodyPr/>
          <a:lstStyle/>
          <a:p>
            <a:r>
              <a:rPr lang="de-DE" dirty="0"/>
              <a:t>EKHN</a:t>
            </a:r>
          </a:p>
        </p:txBody>
      </p:sp>
      <p:sp>
        <p:nvSpPr>
          <p:cNvPr id="3" name="Slide Number Placeholder 2">
            <a:extLst>
              <a:ext uri="{FF2B5EF4-FFF2-40B4-BE49-F238E27FC236}">
                <a16:creationId xmlns:a16="http://schemas.microsoft.com/office/drawing/2014/main" xmlns="" id="{D6F0F314-4CB6-455D-B078-3EB3A3389F44}"/>
              </a:ext>
            </a:extLst>
          </p:cNvPr>
          <p:cNvSpPr>
            <a:spLocks noGrp="1"/>
          </p:cNvSpPr>
          <p:nvPr>
            <p:ph type="sldNum" sz="quarter" idx="12"/>
          </p:nvPr>
        </p:nvSpPr>
        <p:spPr/>
        <p:txBody>
          <a:bodyPr/>
          <a:lstStyle/>
          <a:p>
            <a:fld id="{3A1CF32A-F356-4D00-AD16-DC450DAC6A33}" type="slidenum">
              <a:rPr lang="de-DE" smtClean="0"/>
              <a:pPr/>
              <a:t>6</a:t>
            </a:fld>
            <a:endParaRPr lang="de-DE" dirty="0"/>
          </a:p>
        </p:txBody>
      </p:sp>
    </p:spTree>
    <p:extLst>
      <p:ext uri="{BB962C8B-B14F-4D97-AF65-F5344CB8AC3E}">
        <p14:creationId xmlns:p14="http://schemas.microsoft.com/office/powerpoint/2010/main" val="258255149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6617518" y="1844824"/>
            <a:ext cx="5201843" cy="4391000"/>
          </a:xfrm>
        </p:spPr>
        <p:txBody>
          <a:bodyPr/>
          <a:lstStyle/>
          <a:p>
            <a:pPr marL="0" indent="0">
              <a:buNone/>
            </a:pPr>
            <a:endParaRPr lang="de-DE" b="0" dirty="0">
              <a:solidFill>
                <a:srgbClr val="572381"/>
              </a:solidFill>
            </a:endParaRPr>
          </a:p>
          <a:p>
            <a:pPr marL="0" indent="0">
              <a:buNone/>
            </a:pPr>
            <a:r>
              <a:rPr lang="de-DE" b="0" dirty="0" smtClean="0">
                <a:solidFill>
                  <a:srgbClr val="572381"/>
                </a:solidFill>
              </a:rPr>
              <a:t>Nach Übermittlung der </a:t>
            </a:r>
            <a:r>
              <a:rPr lang="de-DE" b="0" dirty="0" err="1" smtClean="0">
                <a:solidFill>
                  <a:srgbClr val="572381"/>
                </a:solidFill>
              </a:rPr>
              <a:t>USt</a:t>
            </a:r>
            <a:r>
              <a:rPr lang="de-DE" b="0" dirty="0" smtClean="0">
                <a:solidFill>
                  <a:srgbClr val="572381"/>
                </a:solidFill>
              </a:rPr>
              <a:t>-VA erhält die Kirchengemeinde eine Auswertung der Datenübermittlung an das Finanzamt über die </a:t>
            </a:r>
            <a:r>
              <a:rPr lang="de-DE" b="0" dirty="0" err="1" smtClean="0">
                <a:solidFill>
                  <a:srgbClr val="572381"/>
                </a:solidFill>
              </a:rPr>
              <a:t>USt</a:t>
            </a:r>
            <a:r>
              <a:rPr lang="de-DE" b="0" dirty="0" smtClean="0">
                <a:solidFill>
                  <a:srgbClr val="572381"/>
                </a:solidFill>
              </a:rPr>
              <a:t>-Zahllast bzw. Vorsteuerüberhang!</a:t>
            </a:r>
            <a:endParaRPr lang="de-DE" b="0" dirty="0">
              <a:solidFill>
                <a:srgbClr val="572381"/>
              </a:solidFill>
            </a:endParaRPr>
          </a:p>
        </p:txBody>
      </p:sp>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smtClean="0"/>
              <a:t>EKHN</a:t>
            </a:r>
            <a:endParaRPr lang="de-DE" altLang="en-US"/>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60</a:t>
            </a:fld>
            <a:endParaRPr lang="de-DE" altLang="en-US"/>
          </a:p>
        </p:txBody>
      </p:sp>
      <p:sp>
        <p:nvSpPr>
          <p:cNvPr id="6" name="Titel 5"/>
          <p:cNvSpPr>
            <a:spLocks noGrp="1"/>
          </p:cNvSpPr>
          <p:nvPr>
            <p:ph type="title"/>
          </p:nvPr>
        </p:nvSpPr>
        <p:spPr>
          <a:xfrm>
            <a:off x="1010420" y="476672"/>
            <a:ext cx="8271394" cy="379140"/>
          </a:xfrm>
        </p:spPr>
        <p:txBody>
          <a:bodyPr/>
          <a:lstStyle/>
          <a:p>
            <a:r>
              <a:rPr lang="de-DE" dirty="0"/>
              <a:t>Zusammenarbeit zwischen Regionalverwaltung und Kirchengemeinde</a:t>
            </a:r>
          </a:p>
        </p:txBody>
      </p:sp>
      <p:sp>
        <p:nvSpPr>
          <p:cNvPr id="7" name="Title 1">
            <a:extLst>
              <a:ext uri="{FF2B5EF4-FFF2-40B4-BE49-F238E27FC236}">
                <a16:creationId xmlns:a16="http://schemas.microsoft.com/office/drawing/2014/main" xmlns="" id="{33A23532-2BB5-4923-92EF-7A7AD39A232F}"/>
              </a:ext>
            </a:extLst>
          </p:cNvPr>
          <p:cNvSpPr txBox="1">
            <a:spLocks/>
          </p:cNvSpPr>
          <p:nvPr/>
        </p:nvSpPr>
        <p:spPr>
          <a:xfrm>
            <a:off x="428738" y="33265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Praxisfall Gemeindefest</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pic>
        <p:nvPicPr>
          <p:cNvPr id="389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822" y="980728"/>
            <a:ext cx="5501622" cy="51789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7566502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936998" y="2996952"/>
            <a:ext cx="8424936" cy="576064"/>
          </a:xfrm>
        </p:spPr>
        <p:txBody>
          <a:bodyPr/>
          <a:lstStyle/>
          <a:p>
            <a:pPr marL="0" indent="0" algn="ctr">
              <a:buNone/>
            </a:pPr>
            <a:r>
              <a:rPr lang="de-DE" sz="3600" dirty="0" smtClean="0">
                <a:solidFill>
                  <a:srgbClr val="572381"/>
                </a:solidFill>
              </a:rPr>
              <a:t>Vielen Dank für Ihre Aufmerksamkeit</a:t>
            </a:r>
          </a:p>
          <a:p>
            <a:endParaRPr lang="de-DE" dirty="0"/>
          </a:p>
          <a:p>
            <a:endParaRPr lang="de-DE" dirty="0"/>
          </a:p>
        </p:txBody>
      </p:sp>
      <p:sp>
        <p:nvSpPr>
          <p:cNvPr id="3" name="Datumsplatzhalter 2"/>
          <p:cNvSpPr>
            <a:spLocks noGrp="1"/>
          </p:cNvSpPr>
          <p:nvPr>
            <p:ph type="dt" sz="half" idx="10"/>
          </p:nvPr>
        </p:nvSpPr>
        <p:spPr/>
        <p:txBody>
          <a:bodyPr/>
          <a:lstStyle/>
          <a:p>
            <a:pPr>
              <a:defRPr/>
            </a:pPr>
            <a:fld id="{87C3040E-71D5-4039-846D-8F1530C0A465}" type="datetime1">
              <a:rPr lang="de-DE" altLang="en-US" smtClean="0"/>
              <a:t>06.07.2021</a:t>
            </a:fld>
            <a:endParaRPr lang="de-DE" altLang="en-US"/>
          </a:p>
        </p:txBody>
      </p:sp>
      <p:sp>
        <p:nvSpPr>
          <p:cNvPr id="4" name="Fußzeilenplatzhalter 3"/>
          <p:cNvSpPr>
            <a:spLocks noGrp="1"/>
          </p:cNvSpPr>
          <p:nvPr>
            <p:ph type="ftr" sz="quarter" idx="11"/>
          </p:nvPr>
        </p:nvSpPr>
        <p:spPr/>
        <p:txBody>
          <a:bodyPr/>
          <a:lstStyle/>
          <a:p>
            <a:pPr>
              <a:defRPr/>
            </a:pPr>
            <a:r>
              <a:rPr lang="de-DE" altLang="en-US" dirty="0" smtClean="0"/>
              <a:t>EKHN</a:t>
            </a:r>
            <a:endParaRPr lang="de-DE" altLang="en-US" dirty="0"/>
          </a:p>
        </p:txBody>
      </p:sp>
      <p:sp>
        <p:nvSpPr>
          <p:cNvPr id="5" name="Foliennummernplatzhalter 4"/>
          <p:cNvSpPr>
            <a:spLocks noGrp="1"/>
          </p:cNvSpPr>
          <p:nvPr>
            <p:ph type="sldNum" sz="quarter" idx="12"/>
          </p:nvPr>
        </p:nvSpPr>
        <p:spPr/>
        <p:txBody>
          <a:bodyPr/>
          <a:lstStyle/>
          <a:p>
            <a:pPr>
              <a:defRPr/>
            </a:pPr>
            <a:fld id="{BEA88772-2E14-493F-A726-E8A7A8CFB7CD}" type="slidenum">
              <a:rPr lang="de-DE" altLang="en-US" smtClean="0"/>
              <a:pPr>
                <a:defRPr/>
              </a:pPr>
              <a:t>61</a:t>
            </a:fld>
            <a:endParaRPr lang="de-DE" altLang="en-US"/>
          </a:p>
        </p:txBody>
      </p:sp>
      <p:sp>
        <p:nvSpPr>
          <p:cNvPr id="8" name="Inhaltsplatzhalter 1"/>
          <p:cNvSpPr txBox="1">
            <a:spLocks/>
          </p:cNvSpPr>
          <p:nvPr/>
        </p:nvSpPr>
        <p:spPr bwMode="auto">
          <a:xfrm rot="19298826">
            <a:off x="799586" y="738804"/>
            <a:ext cx="1863823" cy="927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4800" kern="0" dirty="0" smtClean="0">
                <a:solidFill>
                  <a:srgbClr val="572381"/>
                </a:solidFill>
                <a:latin typeface="Baskerville Old Face" panose="02020602080505020303" pitchFamily="18" charset="0"/>
              </a:rPr>
              <a:t>7%</a:t>
            </a:r>
          </a:p>
          <a:p>
            <a:endParaRPr lang="de-DE" kern="0" dirty="0" smtClean="0"/>
          </a:p>
          <a:p>
            <a:endParaRPr lang="de-DE" kern="0" dirty="0"/>
          </a:p>
        </p:txBody>
      </p:sp>
      <p:sp>
        <p:nvSpPr>
          <p:cNvPr id="9" name="Inhaltsplatzhalter 1"/>
          <p:cNvSpPr txBox="1">
            <a:spLocks/>
          </p:cNvSpPr>
          <p:nvPr/>
        </p:nvSpPr>
        <p:spPr bwMode="auto">
          <a:xfrm rot="357710">
            <a:off x="516519" y="2517275"/>
            <a:ext cx="1863823" cy="476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chemeClr val="tx1">
                    <a:lumMod val="95000"/>
                    <a:lumOff val="5000"/>
                  </a:schemeClr>
                </a:solidFill>
                <a:latin typeface="Baskerville Old Face" panose="02020602080505020303" pitchFamily="18" charset="0"/>
              </a:rPr>
              <a:t>10,7%</a:t>
            </a:r>
          </a:p>
          <a:p>
            <a:endParaRPr lang="de-DE" kern="0" dirty="0" smtClean="0"/>
          </a:p>
          <a:p>
            <a:endParaRPr lang="de-DE" kern="0" dirty="0"/>
          </a:p>
        </p:txBody>
      </p:sp>
      <p:sp>
        <p:nvSpPr>
          <p:cNvPr id="10" name="Inhaltsplatzhalter 1"/>
          <p:cNvSpPr txBox="1">
            <a:spLocks/>
          </p:cNvSpPr>
          <p:nvPr/>
        </p:nvSpPr>
        <p:spPr bwMode="auto">
          <a:xfrm rot="304379">
            <a:off x="9586704" y="5533726"/>
            <a:ext cx="1863823" cy="463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2000" kern="0" dirty="0" smtClean="0">
                <a:solidFill>
                  <a:srgbClr val="FF0000"/>
                </a:solidFill>
                <a:latin typeface="Baskerville Old Face" panose="02020602080505020303" pitchFamily="18" charset="0"/>
              </a:rPr>
              <a:t>steuerfrei</a:t>
            </a:r>
          </a:p>
          <a:p>
            <a:endParaRPr lang="de-DE" sz="2000" kern="0" dirty="0" smtClean="0">
              <a:solidFill>
                <a:srgbClr val="FF0000"/>
              </a:solidFill>
            </a:endParaRPr>
          </a:p>
          <a:p>
            <a:endParaRPr lang="de-DE" sz="2000" kern="0" dirty="0">
              <a:solidFill>
                <a:srgbClr val="FF0000"/>
              </a:solidFill>
            </a:endParaRPr>
          </a:p>
        </p:txBody>
      </p:sp>
      <p:sp>
        <p:nvSpPr>
          <p:cNvPr id="11" name="Inhaltsplatzhalter 1"/>
          <p:cNvSpPr txBox="1">
            <a:spLocks/>
          </p:cNvSpPr>
          <p:nvPr/>
        </p:nvSpPr>
        <p:spPr bwMode="auto">
          <a:xfrm rot="21298620">
            <a:off x="7206858" y="4320690"/>
            <a:ext cx="1505949" cy="524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rgbClr val="572381"/>
                </a:solidFill>
                <a:latin typeface="Baskerville Old Face" panose="02020602080505020303" pitchFamily="18" charset="0"/>
              </a:rPr>
              <a:t>§2b UStG</a:t>
            </a:r>
          </a:p>
          <a:p>
            <a:endParaRPr lang="de-DE" kern="0" dirty="0" smtClean="0"/>
          </a:p>
          <a:p>
            <a:endParaRPr lang="de-DE" kern="0" dirty="0"/>
          </a:p>
        </p:txBody>
      </p:sp>
      <p:sp>
        <p:nvSpPr>
          <p:cNvPr id="12" name="Inhaltsplatzhalter 1"/>
          <p:cNvSpPr txBox="1">
            <a:spLocks/>
          </p:cNvSpPr>
          <p:nvPr/>
        </p:nvSpPr>
        <p:spPr bwMode="auto">
          <a:xfrm rot="21297685">
            <a:off x="5592966" y="463699"/>
            <a:ext cx="1046574" cy="49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2000" kern="0" dirty="0">
                <a:solidFill>
                  <a:schemeClr val="accent2">
                    <a:lumMod val="40000"/>
                    <a:lumOff val="60000"/>
                  </a:schemeClr>
                </a:solidFill>
                <a:latin typeface="Baskerville Old Face" panose="02020602080505020303" pitchFamily="18" charset="0"/>
              </a:rPr>
              <a:t>5</a:t>
            </a:r>
            <a:r>
              <a:rPr lang="de-DE" sz="2000" kern="0" dirty="0" smtClean="0">
                <a:solidFill>
                  <a:schemeClr val="accent2">
                    <a:lumMod val="40000"/>
                    <a:lumOff val="60000"/>
                  </a:schemeClr>
                </a:solidFill>
                <a:latin typeface="Baskerville Old Face" panose="02020602080505020303" pitchFamily="18" charset="0"/>
              </a:rPr>
              <a:t>%</a:t>
            </a:r>
          </a:p>
          <a:p>
            <a:endParaRPr lang="de-DE" kern="0" dirty="0" smtClean="0"/>
          </a:p>
          <a:p>
            <a:endParaRPr lang="de-DE" kern="0" dirty="0"/>
          </a:p>
        </p:txBody>
      </p:sp>
      <p:sp>
        <p:nvSpPr>
          <p:cNvPr id="13" name="Inhaltsplatzhalter 1"/>
          <p:cNvSpPr txBox="1">
            <a:spLocks/>
          </p:cNvSpPr>
          <p:nvPr/>
        </p:nvSpPr>
        <p:spPr bwMode="auto">
          <a:xfrm rot="427029">
            <a:off x="189768" y="5108840"/>
            <a:ext cx="1334219" cy="576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chemeClr val="tx1">
                    <a:lumMod val="95000"/>
                    <a:lumOff val="5000"/>
                  </a:schemeClr>
                </a:solidFill>
                <a:latin typeface="Baskerville Old Face" panose="02020602080505020303" pitchFamily="18" charset="0"/>
              </a:rPr>
              <a:t>16%</a:t>
            </a:r>
          </a:p>
          <a:p>
            <a:endParaRPr lang="de-DE" kern="0" dirty="0" smtClean="0"/>
          </a:p>
          <a:p>
            <a:endParaRPr lang="de-DE" kern="0" dirty="0"/>
          </a:p>
        </p:txBody>
      </p:sp>
      <p:sp>
        <p:nvSpPr>
          <p:cNvPr id="14" name="Inhaltsplatzhalter 1"/>
          <p:cNvSpPr txBox="1">
            <a:spLocks/>
          </p:cNvSpPr>
          <p:nvPr/>
        </p:nvSpPr>
        <p:spPr bwMode="auto">
          <a:xfrm>
            <a:off x="3017118" y="5165101"/>
            <a:ext cx="1863823" cy="463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2000" kern="0" dirty="0" smtClean="0">
                <a:solidFill>
                  <a:schemeClr val="accent2">
                    <a:lumMod val="40000"/>
                    <a:lumOff val="60000"/>
                  </a:schemeClr>
                </a:solidFill>
                <a:latin typeface="Baskerville Old Face" panose="02020602080505020303" pitchFamily="18" charset="0"/>
              </a:rPr>
              <a:t>steuerpflichtig</a:t>
            </a:r>
          </a:p>
          <a:p>
            <a:endParaRPr lang="de-DE" sz="2000" kern="0" dirty="0" smtClean="0">
              <a:solidFill>
                <a:srgbClr val="FF0000"/>
              </a:solidFill>
            </a:endParaRPr>
          </a:p>
          <a:p>
            <a:endParaRPr lang="de-DE" sz="2000" kern="0" dirty="0">
              <a:solidFill>
                <a:srgbClr val="FF0000"/>
              </a:solidFill>
            </a:endParaRPr>
          </a:p>
        </p:txBody>
      </p:sp>
      <p:sp>
        <p:nvSpPr>
          <p:cNvPr id="15" name="Inhaltsplatzhalter 1"/>
          <p:cNvSpPr txBox="1">
            <a:spLocks/>
          </p:cNvSpPr>
          <p:nvPr/>
        </p:nvSpPr>
        <p:spPr bwMode="auto">
          <a:xfrm rot="20809908">
            <a:off x="4455306" y="3953371"/>
            <a:ext cx="1534101" cy="791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3600" kern="0" dirty="0" smtClean="0">
                <a:solidFill>
                  <a:srgbClr val="FF0000"/>
                </a:solidFill>
                <a:latin typeface="Baskerville Old Face" panose="02020602080505020303" pitchFamily="18" charset="0"/>
              </a:rPr>
              <a:t>5,5%</a:t>
            </a:r>
          </a:p>
          <a:p>
            <a:endParaRPr lang="de-DE" kern="0" dirty="0" smtClean="0"/>
          </a:p>
          <a:p>
            <a:endParaRPr lang="de-DE" kern="0" dirty="0"/>
          </a:p>
        </p:txBody>
      </p:sp>
      <p:sp>
        <p:nvSpPr>
          <p:cNvPr id="16" name="Inhaltsplatzhalter 1"/>
          <p:cNvSpPr txBox="1">
            <a:spLocks/>
          </p:cNvSpPr>
          <p:nvPr/>
        </p:nvSpPr>
        <p:spPr bwMode="auto">
          <a:xfrm rot="1548753">
            <a:off x="9506222" y="1833219"/>
            <a:ext cx="1863823" cy="927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4800" kern="0" dirty="0" smtClean="0">
                <a:solidFill>
                  <a:srgbClr val="FF0000"/>
                </a:solidFill>
                <a:latin typeface="Baskerville Old Face" panose="02020602080505020303" pitchFamily="18" charset="0"/>
              </a:rPr>
              <a:t>19%</a:t>
            </a:r>
          </a:p>
          <a:p>
            <a:endParaRPr lang="de-DE" kern="0" dirty="0" smtClean="0"/>
          </a:p>
          <a:p>
            <a:endParaRPr lang="de-DE" kern="0" dirty="0"/>
          </a:p>
        </p:txBody>
      </p:sp>
      <p:sp>
        <p:nvSpPr>
          <p:cNvPr id="17" name="Inhaltsplatzhalter 1"/>
          <p:cNvSpPr txBox="1">
            <a:spLocks/>
          </p:cNvSpPr>
          <p:nvPr/>
        </p:nvSpPr>
        <p:spPr bwMode="auto">
          <a:xfrm rot="21420132">
            <a:off x="3347361" y="1251075"/>
            <a:ext cx="1863823" cy="476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err="1" smtClean="0">
                <a:solidFill>
                  <a:srgbClr val="FF0000"/>
                </a:solidFill>
                <a:latin typeface="Baskerville Old Face" panose="02020602080505020303" pitchFamily="18" charset="0"/>
              </a:rPr>
              <a:t>USt</a:t>
            </a:r>
            <a:r>
              <a:rPr lang="de-DE" kern="0" dirty="0" smtClean="0">
                <a:solidFill>
                  <a:srgbClr val="FF0000"/>
                </a:solidFill>
                <a:latin typeface="Baskerville Old Face" panose="02020602080505020303" pitchFamily="18" charset="0"/>
              </a:rPr>
              <a:t>-VA</a:t>
            </a:r>
          </a:p>
          <a:p>
            <a:endParaRPr lang="de-DE" kern="0" dirty="0" smtClean="0"/>
          </a:p>
          <a:p>
            <a:endParaRPr lang="de-DE" kern="0" dirty="0"/>
          </a:p>
        </p:txBody>
      </p:sp>
      <p:sp>
        <p:nvSpPr>
          <p:cNvPr id="18" name="Inhaltsplatzhalter 1"/>
          <p:cNvSpPr txBox="1">
            <a:spLocks/>
          </p:cNvSpPr>
          <p:nvPr/>
        </p:nvSpPr>
        <p:spPr bwMode="auto">
          <a:xfrm rot="20965480">
            <a:off x="7193582" y="1257151"/>
            <a:ext cx="1863823" cy="463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sz="2000" kern="0" dirty="0" smtClean="0">
                <a:solidFill>
                  <a:schemeClr val="accent2">
                    <a:lumMod val="40000"/>
                    <a:lumOff val="60000"/>
                  </a:schemeClr>
                </a:solidFill>
                <a:latin typeface="Baskerville Old Face" panose="02020602080505020303" pitchFamily="18" charset="0"/>
              </a:rPr>
              <a:t>steuerbar</a:t>
            </a:r>
          </a:p>
          <a:p>
            <a:endParaRPr lang="de-DE" sz="2000" kern="0" dirty="0" smtClean="0">
              <a:solidFill>
                <a:srgbClr val="FF0000"/>
              </a:solidFill>
            </a:endParaRPr>
          </a:p>
          <a:p>
            <a:endParaRPr lang="de-DE" sz="2000" kern="0" dirty="0">
              <a:solidFill>
                <a:srgbClr val="FF0000"/>
              </a:solidFill>
            </a:endParaRPr>
          </a:p>
        </p:txBody>
      </p:sp>
      <p:sp>
        <p:nvSpPr>
          <p:cNvPr id="19" name="Inhaltsplatzhalter 1"/>
          <p:cNvSpPr txBox="1">
            <a:spLocks/>
          </p:cNvSpPr>
          <p:nvPr/>
        </p:nvSpPr>
        <p:spPr bwMode="auto">
          <a:xfrm rot="21298620">
            <a:off x="1222582" y="4134603"/>
            <a:ext cx="2073639" cy="524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rgbClr val="92D050"/>
                </a:solidFill>
                <a:latin typeface="Baskerville Old Face" panose="02020602080505020303" pitchFamily="18" charset="0"/>
              </a:rPr>
              <a:t>nicht steuerbar</a:t>
            </a:r>
          </a:p>
          <a:p>
            <a:endParaRPr lang="de-DE" kern="0" dirty="0" smtClean="0"/>
          </a:p>
          <a:p>
            <a:endParaRPr lang="de-DE" kern="0" dirty="0"/>
          </a:p>
        </p:txBody>
      </p:sp>
      <p:sp>
        <p:nvSpPr>
          <p:cNvPr id="20" name="Inhaltsplatzhalter 1"/>
          <p:cNvSpPr txBox="1">
            <a:spLocks/>
          </p:cNvSpPr>
          <p:nvPr/>
        </p:nvSpPr>
        <p:spPr bwMode="auto">
          <a:xfrm>
            <a:off x="4899900" y="2035068"/>
            <a:ext cx="2073639" cy="524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rgbClr val="92D050"/>
                </a:solidFill>
                <a:latin typeface="Baskerville Old Face" panose="02020602080505020303" pitchFamily="18" charset="0"/>
              </a:rPr>
              <a:t>Entgelt</a:t>
            </a:r>
          </a:p>
          <a:p>
            <a:endParaRPr lang="de-DE" kern="0" dirty="0" smtClean="0"/>
          </a:p>
          <a:p>
            <a:endParaRPr lang="de-DE" kern="0" dirty="0"/>
          </a:p>
        </p:txBody>
      </p:sp>
      <p:sp>
        <p:nvSpPr>
          <p:cNvPr id="21" name="Inhaltsplatzhalter 1"/>
          <p:cNvSpPr txBox="1">
            <a:spLocks/>
          </p:cNvSpPr>
          <p:nvPr/>
        </p:nvSpPr>
        <p:spPr bwMode="auto">
          <a:xfrm>
            <a:off x="9209806" y="3872592"/>
            <a:ext cx="2073639" cy="524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a:solidFill>
                  <a:srgbClr val="92D050"/>
                </a:solidFill>
                <a:latin typeface="Baskerville Old Face" panose="02020602080505020303" pitchFamily="18" charset="0"/>
              </a:rPr>
              <a:t>e</a:t>
            </a:r>
            <a:r>
              <a:rPr lang="de-DE" kern="0" dirty="0" smtClean="0">
                <a:solidFill>
                  <a:srgbClr val="92D050"/>
                </a:solidFill>
                <a:latin typeface="Baskerville Old Face" panose="02020602080505020303" pitchFamily="18" charset="0"/>
              </a:rPr>
              <a:t>chte Spende</a:t>
            </a:r>
          </a:p>
          <a:p>
            <a:endParaRPr lang="de-DE" kern="0" dirty="0" smtClean="0"/>
          </a:p>
          <a:p>
            <a:endParaRPr lang="de-DE" kern="0" dirty="0"/>
          </a:p>
        </p:txBody>
      </p:sp>
      <p:sp>
        <p:nvSpPr>
          <p:cNvPr id="22" name="Inhaltsplatzhalter 1"/>
          <p:cNvSpPr txBox="1">
            <a:spLocks/>
          </p:cNvSpPr>
          <p:nvPr/>
        </p:nvSpPr>
        <p:spPr bwMode="auto">
          <a:xfrm rot="1052450">
            <a:off x="5622531" y="5216645"/>
            <a:ext cx="2073639" cy="524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2400"/>
              </a:spcBef>
              <a:spcAft>
                <a:spcPct val="0"/>
              </a:spcAft>
              <a:buClr>
                <a:srgbClr val="572381"/>
              </a:buClr>
              <a:buSzPct val="150000"/>
              <a:buChar char="•"/>
              <a:defRPr sz="2400" b="1">
                <a:solidFill>
                  <a:schemeClr val="tx1"/>
                </a:solidFill>
                <a:latin typeface="Arial Unicode MS" panose="020B0604020202020204" pitchFamily="34" charset="-128"/>
                <a:ea typeface="+mn-ea"/>
                <a:cs typeface="+mn-cs"/>
              </a:defRPr>
            </a:lvl1pPr>
            <a:lvl2pPr marL="742950" indent="-285750" algn="l" rtl="0" eaLnBrk="0" fontAlgn="base" hangingPunct="0">
              <a:spcBef>
                <a:spcPct val="20000"/>
              </a:spcBef>
              <a:spcAft>
                <a:spcPct val="0"/>
              </a:spcAft>
              <a:buClr>
                <a:srgbClr val="572381"/>
              </a:buClr>
              <a:buSzPct val="120000"/>
              <a:buFont typeface="Symbol" panose="05050102010706020507" pitchFamily="18" charset="2"/>
              <a:buChar char="-"/>
              <a:defRPr sz="2000" b="1">
                <a:solidFill>
                  <a:schemeClr val="tx1"/>
                </a:solidFill>
                <a:latin typeface="Arial Unicode MS" panose="020B0604020202020204" pitchFamily="34" charset="-128"/>
              </a:defRPr>
            </a:lvl2pPr>
            <a:lvl3pPr marL="1143000" indent="-228600" algn="l" rtl="0" eaLnBrk="0" fontAlgn="base" hangingPunct="0">
              <a:spcBef>
                <a:spcPct val="20000"/>
              </a:spcBef>
              <a:spcAft>
                <a:spcPct val="0"/>
              </a:spcAft>
              <a:buChar char="•"/>
              <a:defRPr sz="1800" b="1">
                <a:solidFill>
                  <a:schemeClr val="tx1"/>
                </a:solidFill>
                <a:latin typeface="Arial Unicode MS" panose="020B0604020202020204" pitchFamily="34" charset="-128"/>
              </a:defRPr>
            </a:lvl3pPr>
            <a:lvl4pPr marL="1600200" indent="-228600" algn="l" rtl="0" eaLnBrk="0" fontAlgn="base" hangingPunct="0">
              <a:spcBef>
                <a:spcPct val="20000"/>
              </a:spcBef>
              <a:spcAft>
                <a:spcPct val="0"/>
              </a:spcAft>
              <a:buChar char="–"/>
              <a:defRPr sz="1600" b="1">
                <a:solidFill>
                  <a:schemeClr val="tx1"/>
                </a:solidFill>
                <a:latin typeface="Arial Unicode MS" panose="020B0604020202020204" pitchFamily="34" charset="-128"/>
              </a:defRPr>
            </a:lvl4pPr>
            <a:lvl5pPr marL="2057400" indent="-228600" algn="l" rtl="0" eaLnBrk="0" fontAlgn="base" hangingPunct="0">
              <a:spcBef>
                <a:spcPct val="20000"/>
              </a:spcBef>
              <a:spcAft>
                <a:spcPct val="0"/>
              </a:spcAft>
              <a:buChar char="»"/>
              <a:defRPr sz="1400" b="1">
                <a:solidFill>
                  <a:schemeClr val="tx1"/>
                </a:solidFill>
                <a:latin typeface="Arial Unicode MS" panose="020B0604020202020204" pitchFamily="34"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ctr">
              <a:buFontTx/>
              <a:buNone/>
            </a:pPr>
            <a:r>
              <a:rPr lang="de-DE" kern="0" dirty="0" smtClean="0">
                <a:solidFill>
                  <a:schemeClr val="tx1">
                    <a:lumMod val="95000"/>
                    <a:lumOff val="5000"/>
                  </a:schemeClr>
                </a:solidFill>
                <a:latin typeface="Baskerville Old Face" panose="02020602080505020303" pitchFamily="18" charset="0"/>
              </a:rPr>
              <a:t>Unternehmer</a:t>
            </a:r>
          </a:p>
          <a:p>
            <a:endParaRPr lang="de-DE" kern="0" dirty="0" smtClean="0"/>
          </a:p>
          <a:p>
            <a:endParaRPr lang="de-DE" kern="0" dirty="0"/>
          </a:p>
        </p:txBody>
      </p:sp>
    </p:spTree>
    <p:extLst>
      <p:ext uri="{BB962C8B-B14F-4D97-AF65-F5344CB8AC3E}">
        <p14:creationId xmlns:p14="http://schemas.microsoft.com/office/powerpoint/2010/main" val="42732833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9BA6E2E-0157-4912-A3AE-0E2BEFC54A60}"/>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4201"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93" y="1588"/>
                        <a:ext cx="1593" cy="1588"/>
                      </a:xfrm>
                      <a:prstGeom prst="rect">
                        <a:avLst/>
                      </a:prstGeom>
                    </p:spPr>
                  </p:pic>
                </p:oleObj>
              </mc:Fallback>
            </mc:AlternateContent>
          </a:graphicData>
        </a:graphic>
      </p:graphicFrame>
      <p:sp>
        <p:nvSpPr>
          <p:cNvPr id="11" name="Content Placeholder 8">
            <a:extLst>
              <a:ext uri="{FF2B5EF4-FFF2-40B4-BE49-F238E27FC236}">
                <a16:creationId xmlns:a16="http://schemas.microsoft.com/office/drawing/2014/main" xmlns="" id="{4798CFE6-F8D2-4B5B-9ABE-831346DAB65B}"/>
              </a:ext>
            </a:extLst>
          </p:cNvPr>
          <p:cNvSpPr txBox="1">
            <a:spLocks/>
          </p:cNvSpPr>
          <p:nvPr/>
        </p:nvSpPr>
        <p:spPr>
          <a:xfrm>
            <a:off x="880589" y="1647254"/>
            <a:ext cx="10465749" cy="1808329"/>
          </a:xfrm>
          <a:prstGeom prst="rect">
            <a:avLst/>
          </a:prstGeom>
          <a:solidFill>
            <a:schemeClr val="tx2">
              <a:lumMod val="20000"/>
              <a:lumOff val="80000"/>
            </a:schemeClr>
          </a:solidFill>
        </p:spPr>
        <p:txBody>
          <a:bodyPr vert="horz" lIns="0" tIns="0" rIns="288000" bIns="0" rtlCol="0" anchor="t">
            <a:noAutofit/>
          </a:bodyPr>
          <a:lstStyle>
            <a:lvl1pPr marL="730250" indent="-730250" algn="l" defTabSz="914400" rtl="0" eaLnBrk="1" latinLnBrk="0" hangingPunct="1">
              <a:lnSpc>
                <a:spcPct val="90000"/>
              </a:lnSpc>
              <a:spcBef>
                <a:spcPts val="0"/>
              </a:spcBef>
              <a:spcAft>
                <a:spcPts val="600"/>
              </a:spcAft>
              <a:buClr>
                <a:schemeClr val="accent1"/>
              </a:buClr>
              <a:buFont typeface="+mj-lt"/>
              <a:buAutoNum type="arabicPeriod"/>
              <a:tabLst>
                <a:tab pos="10623550" algn="r"/>
              </a:tabLst>
              <a:defRPr sz="2800" b="0" kern="1200">
                <a:solidFill>
                  <a:schemeClr val="tx1"/>
                </a:solidFill>
                <a:latin typeface="+mn-lt"/>
                <a:ea typeface="+mn-ea"/>
                <a:cs typeface="+mn-cs"/>
              </a:defRPr>
            </a:lvl1pPr>
            <a:lvl2pPr marL="730250" indent="0" algn="l" defTabSz="914400" rtl="0" eaLnBrk="1" latinLnBrk="0" hangingPunct="1">
              <a:lnSpc>
                <a:spcPct val="100000"/>
              </a:lnSpc>
              <a:spcBef>
                <a:spcPts val="0"/>
              </a:spcBef>
              <a:spcAft>
                <a:spcPts val="600"/>
              </a:spcAft>
              <a:buClr>
                <a:schemeClr val="accent4"/>
              </a:buClr>
              <a:buFont typeface="+mj-lt"/>
              <a:buNone/>
              <a:tabLst>
                <a:tab pos="10623550" algn="r"/>
              </a:tabLst>
              <a:defRPr sz="1600" kern="1200">
                <a:solidFill>
                  <a:schemeClr val="tx1"/>
                </a:solidFill>
                <a:latin typeface="+mn-lt"/>
                <a:ea typeface="+mn-ea"/>
                <a:cs typeface="+mn-cs"/>
              </a:defRPr>
            </a:lvl2pPr>
            <a:lvl3pPr marL="9144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3pPr>
            <a:lvl4pPr marL="10969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4pPr>
            <a:lvl5pPr marL="1279525"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5pPr>
            <a:lvl6pPr marL="1462088"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6pPr>
            <a:lvl7pPr marL="164465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7pPr>
            <a:lvl8pPr marL="1828800"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8pPr>
            <a:lvl9pPr marL="2011363" indent="-182563" algn="l" defTabSz="914400" rtl="0" eaLnBrk="1" latinLnBrk="0" hangingPunct="1">
              <a:lnSpc>
                <a:spcPct val="100000"/>
              </a:lnSpc>
              <a:spcBef>
                <a:spcPts val="0"/>
              </a:spcBef>
              <a:spcAft>
                <a:spcPts val="600"/>
              </a:spcAft>
              <a:buFont typeface="Arial" panose="020B0604020202020204" pitchFamily="34" charset="0"/>
              <a:buChar char="•"/>
              <a:tabLst>
                <a:tab pos="10623550" algn="r"/>
              </a:tabLst>
              <a:defRPr sz="1600" kern="1200">
                <a:solidFill>
                  <a:schemeClr val="tx1"/>
                </a:solidFill>
                <a:latin typeface="+mn-lt"/>
                <a:ea typeface="+mn-ea"/>
                <a:cs typeface="+mn-cs"/>
              </a:defRPr>
            </a:lvl9pPr>
          </a:lstStyle>
          <a:p>
            <a:pPr marL="357188" indent="0" algn="ctr">
              <a:lnSpc>
                <a:spcPct val="150000"/>
              </a:lnSpc>
              <a:spcAft>
                <a:spcPts val="1200"/>
              </a:spcAft>
              <a:buClr>
                <a:schemeClr val="accent3"/>
              </a:buClr>
              <a:buNone/>
            </a:pPr>
            <a:r>
              <a:rPr lang="de-DE" sz="2600" b="1" dirty="0">
                <a:solidFill>
                  <a:srgbClr val="572381"/>
                </a:solidFill>
                <a:latin typeface="Calibri" panose="020F0502020204030204" pitchFamily="34" charset="0"/>
                <a:cs typeface="Calibri" panose="020F0502020204030204" pitchFamily="34" charset="0"/>
              </a:rPr>
              <a:t>NEU: Unternehmereigenschaft nach dem UStG gilt auch für juristische Personen des öffentlichen Rechts, d. h. deren Leistungserbringungen können nun umsatzsteuerpflichtig sein</a:t>
            </a:r>
          </a:p>
          <a:p>
            <a:pPr marL="357188" indent="0" algn="ctr">
              <a:lnSpc>
                <a:spcPct val="150000"/>
              </a:lnSpc>
              <a:spcAft>
                <a:spcPts val="1200"/>
              </a:spcAft>
              <a:buClr>
                <a:schemeClr val="accent3"/>
              </a:buClr>
              <a:buNone/>
            </a:pPr>
            <a:r>
              <a:rPr lang="de-DE" sz="1800" dirty="0">
                <a:solidFill>
                  <a:srgbClr val="572381"/>
                </a:solidFill>
                <a:latin typeface="Calibri" panose="020F0502020204030204" pitchFamily="34" charset="0"/>
                <a:cs typeface="Calibri" panose="020F0502020204030204" pitchFamily="34" charset="0"/>
              </a:rPr>
              <a:t>Neuregelung in § 2b UStG und Streichung von § 2 Abs. 3 UStG im Rahmen des Steueränderungsgesetzes 2015 (Umsetzung der Europäischen Mehrwertsteuersystemrichtlinie von 2006) </a:t>
            </a:r>
          </a:p>
          <a:p>
            <a:pPr marL="357188" indent="0" algn="ctr">
              <a:lnSpc>
                <a:spcPct val="150000"/>
              </a:lnSpc>
              <a:spcAft>
                <a:spcPts val="1200"/>
              </a:spcAft>
              <a:buClr>
                <a:schemeClr val="accent3"/>
              </a:buClr>
              <a:buNone/>
            </a:pPr>
            <a:endParaRPr lang="de-DE" sz="2600" b="1" dirty="0">
              <a:solidFill>
                <a:schemeClr val="accent6"/>
              </a:solidFill>
              <a:latin typeface="Calibri" panose="020F0502020204030204" pitchFamily="34" charset="0"/>
              <a:cs typeface="Calibri" panose="020F0502020204030204" pitchFamily="34" charset="0"/>
            </a:endParaRPr>
          </a:p>
        </p:txBody>
      </p:sp>
      <p:sp>
        <p:nvSpPr>
          <p:cNvPr id="3" name="Date Placeholder 2">
            <a:extLst>
              <a:ext uri="{FF2B5EF4-FFF2-40B4-BE49-F238E27FC236}">
                <a16:creationId xmlns:a16="http://schemas.microsoft.com/office/drawing/2014/main" xmlns="" id="{B6EBFE8B-FB48-47E1-8F25-487DD53173CD}"/>
              </a:ext>
            </a:extLst>
          </p:cNvPr>
          <p:cNvSpPr>
            <a:spLocks noGrp="1"/>
          </p:cNvSpPr>
          <p:nvPr>
            <p:ph type="dt" sz="half" idx="10"/>
          </p:nvPr>
        </p:nvSpPr>
        <p:spPr/>
        <p:txBody>
          <a:bodyPr/>
          <a:lstStyle/>
          <a:p>
            <a:fld id="{E85B4691-259F-4617-8D9C-8FF4934B9417}" type="datetime1">
              <a:rPr lang="de-DE" smtClean="0"/>
              <a:t>06.07.2021</a:t>
            </a:fld>
            <a:endParaRPr lang="de-DE" dirty="0"/>
          </a:p>
        </p:txBody>
      </p:sp>
      <p:sp>
        <p:nvSpPr>
          <p:cNvPr id="4" name="Footer Placeholder 3">
            <a:extLst>
              <a:ext uri="{FF2B5EF4-FFF2-40B4-BE49-F238E27FC236}">
                <a16:creationId xmlns:a16="http://schemas.microsoft.com/office/drawing/2014/main" xmlns="" id="{FC96D97C-EC35-4CC6-B2E3-AB19DC36793A}"/>
              </a:ext>
            </a:extLst>
          </p:cNvPr>
          <p:cNvSpPr>
            <a:spLocks noGrp="1"/>
          </p:cNvSpPr>
          <p:nvPr>
            <p:ph type="ftr" sz="quarter" idx="11"/>
          </p:nvPr>
        </p:nvSpPr>
        <p:spPr/>
        <p:txBody>
          <a:bodyPr/>
          <a:lstStyle/>
          <a:p>
            <a:r>
              <a:rPr lang="de-DE" dirty="0"/>
              <a:t>EKHN</a:t>
            </a:r>
          </a:p>
        </p:txBody>
      </p:sp>
      <p:sp>
        <p:nvSpPr>
          <p:cNvPr id="2" name="Slide Number Placeholder 1">
            <a:extLst>
              <a:ext uri="{FF2B5EF4-FFF2-40B4-BE49-F238E27FC236}">
                <a16:creationId xmlns:a16="http://schemas.microsoft.com/office/drawing/2014/main" xmlns="" id="{C67153A9-3B37-4484-A4E7-70FA3E7C96A5}"/>
              </a:ext>
            </a:extLst>
          </p:cNvPr>
          <p:cNvSpPr>
            <a:spLocks noGrp="1"/>
          </p:cNvSpPr>
          <p:nvPr>
            <p:ph type="sldNum" sz="quarter" idx="12"/>
          </p:nvPr>
        </p:nvSpPr>
        <p:spPr/>
        <p:txBody>
          <a:bodyPr/>
          <a:lstStyle/>
          <a:p>
            <a:fld id="{3A1CF32A-F356-4D00-AD16-DC450DAC6A33}" type="slidenum">
              <a:rPr lang="de-DE" smtClean="0"/>
              <a:pPr/>
              <a:t>7</a:t>
            </a:fld>
            <a:endParaRPr lang="de-DE" dirty="0"/>
          </a:p>
        </p:txBody>
      </p:sp>
    </p:spTree>
    <p:extLst>
      <p:ext uri="{BB962C8B-B14F-4D97-AF65-F5344CB8AC3E}">
        <p14:creationId xmlns:p14="http://schemas.microsoft.com/office/powerpoint/2010/main" val="33795533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5223"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400" dirty="0">
              <a:latin typeface="Georgia" panose="02040502050405020303" pitchFamily="18" charset="0"/>
              <a:ea typeface="+mj-ea"/>
              <a:cs typeface="+mj-cs"/>
              <a:sym typeface="Georgia" panose="02040502050405020303" pitchFamily="18" charset="0"/>
            </a:endParaRPr>
          </a:p>
        </p:txBody>
      </p:sp>
      <p:sp>
        <p:nvSpPr>
          <p:cNvPr id="16" name="Title 1">
            <a:extLst>
              <a:ext uri="{FF2B5EF4-FFF2-40B4-BE49-F238E27FC236}">
                <a16:creationId xmlns:a16="http://schemas.microsoft.com/office/drawing/2014/main" xmlns="" id="{B83FB3AD-35FD-4A42-9AF6-A0B2C91E0C5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4" name="Slide Number Placeholder 8">
            <a:extLst>
              <a:ext uri="{FF2B5EF4-FFF2-40B4-BE49-F238E27FC236}">
                <a16:creationId xmlns:a16="http://schemas.microsoft.com/office/drawing/2014/main" xmlns="" id="{F3F1B2F3-4F2F-4D3A-BF5F-1CF6B2A7222E}"/>
              </a:ext>
            </a:extLst>
          </p:cNvPr>
          <p:cNvSpPr txBox="1">
            <a:spLocks/>
          </p:cNvSpPr>
          <p:nvPr/>
        </p:nvSpPr>
        <p:spPr>
          <a:xfrm>
            <a:off x="10012897" y="6492240"/>
            <a:ext cx="1769847" cy="137160"/>
          </a:xfrm>
          <a:prstGeom prst="rect">
            <a:avLst/>
          </a:prstGeom>
        </p:spPr>
        <p:txBody>
          <a:bodyPr vert="horz" lIns="0" tIns="0" rIns="0" bIns="0" rtlCol="0" anchor="b" anchorCtr="0">
            <a:noAutofit/>
          </a:bodyPr>
          <a:lstStyle>
            <a:defPPr>
              <a:defRPr lang="en-US"/>
            </a:defPPr>
            <a:lvl1pPr algn="r">
              <a:defRPr sz="800">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
        <p:nvSpPr>
          <p:cNvPr id="6" name="Date Placeholder 5">
            <a:extLst>
              <a:ext uri="{FF2B5EF4-FFF2-40B4-BE49-F238E27FC236}">
                <a16:creationId xmlns:a16="http://schemas.microsoft.com/office/drawing/2014/main" xmlns="" id="{BD1F8096-46AA-4389-B415-0EADC34566AD}"/>
              </a:ext>
            </a:extLst>
          </p:cNvPr>
          <p:cNvSpPr>
            <a:spLocks noGrp="1"/>
          </p:cNvSpPr>
          <p:nvPr>
            <p:ph type="dt" sz="half" idx="10"/>
          </p:nvPr>
        </p:nvSpPr>
        <p:spPr/>
        <p:txBody>
          <a:bodyPr/>
          <a:lstStyle/>
          <a:p>
            <a:fld id="{C8F86FCA-E4D4-4D16-A616-9031A9892ED7}" type="datetime1">
              <a:rPr lang="de-DE" smtClean="0"/>
              <a:t>06.07.2021</a:t>
            </a:fld>
            <a:endParaRPr lang="de-DE" dirty="0"/>
          </a:p>
        </p:txBody>
      </p:sp>
      <p:sp>
        <p:nvSpPr>
          <p:cNvPr id="7" name="Footer Placeholder 6">
            <a:extLst>
              <a:ext uri="{FF2B5EF4-FFF2-40B4-BE49-F238E27FC236}">
                <a16:creationId xmlns:a16="http://schemas.microsoft.com/office/drawing/2014/main" xmlns="" id="{BB7B0EC3-6524-4CD7-A4BF-7512AC4BC140}"/>
              </a:ext>
            </a:extLst>
          </p:cNvPr>
          <p:cNvSpPr>
            <a:spLocks noGrp="1"/>
          </p:cNvSpPr>
          <p:nvPr>
            <p:ph type="ftr" sz="quarter" idx="11"/>
          </p:nvPr>
        </p:nvSpPr>
        <p:spPr/>
        <p:txBody>
          <a:bodyPr/>
          <a:lstStyle/>
          <a:p>
            <a:r>
              <a:rPr lang="de-DE" dirty="0"/>
              <a:t>EKHN</a:t>
            </a:r>
          </a:p>
        </p:txBody>
      </p:sp>
      <p:sp>
        <p:nvSpPr>
          <p:cNvPr id="3" name="Titel 2"/>
          <p:cNvSpPr>
            <a:spLocks noGrp="1"/>
          </p:cNvSpPr>
          <p:nvPr>
            <p:ph type="title"/>
          </p:nvPr>
        </p:nvSpPr>
        <p:spPr>
          <a:xfrm>
            <a:off x="679354" y="620688"/>
            <a:ext cx="6932570" cy="720080"/>
          </a:xfrm>
        </p:spPr>
        <p:txBody>
          <a:bodyPr/>
          <a:lstStyle/>
          <a:p>
            <a:pPr algn="l"/>
            <a:r>
              <a:rPr lang="de-DE" dirty="0">
                <a:latin typeface="Calibri" panose="020F0502020204030204" pitchFamily="34" charset="0"/>
                <a:cs typeface="Calibri" panose="020F0502020204030204" pitchFamily="34" charset="0"/>
              </a:rPr>
              <a:t>Ab </a:t>
            </a:r>
            <a:r>
              <a:rPr lang="de-DE" dirty="0" smtClean="0">
                <a:latin typeface="Calibri" panose="020F0502020204030204" pitchFamily="34" charset="0"/>
                <a:cs typeface="Calibri" panose="020F0502020204030204" pitchFamily="34" charset="0"/>
              </a:rPr>
              <a:t>01.01.2023 </a:t>
            </a:r>
            <a:r>
              <a:rPr lang="de-DE" dirty="0">
                <a:latin typeface="Calibri" panose="020F0502020204030204" pitchFamily="34" charset="0"/>
                <a:cs typeface="Calibri" panose="020F0502020204030204" pitchFamily="34" charset="0"/>
              </a:rPr>
              <a:t>können auch Kirchengemeinden, Dekanate und kirchliche Verbände der Umsatzsteuerpflicht </a:t>
            </a:r>
            <a:r>
              <a:rPr lang="de-DE" dirty="0" smtClean="0">
                <a:latin typeface="Calibri" panose="020F0502020204030204" pitchFamily="34" charset="0"/>
                <a:cs typeface="Calibri" panose="020F0502020204030204" pitchFamily="34" charset="0"/>
              </a:rPr>
              <a:t>unterliegen</a:t>
            </a:r>
            <a:endParaRPr lang="de-DE" dirty="0"/>
          </a:p>
        </p:txBody>
      </p:sp>
      <p:grpSp>
        <p:nvGrpSpPr>
          <p:cNvPr id="18" name="Group 17">
            <a:extLst>
              <a:ext uri="{FF2B5EF4-FFF2-40B4-BE49-F238E27FC236}">
                <a16:creationId xmlns:a16="http://schemas.microsoft.com/office/drawing/2014/main" xmlns="" id="{DCCF9DE1-B26C-4E3C-A52F-E874F71A176E}"/>
              </a:ext>
            </a:extLst>
          </p:cNvPr>
          <p:cNvGrpSpPr/>
          <p:nvPr/>
        </p:nvGrpSpPr>
        <p:grpSpPr>
          <a:xfrm>
            <a:off x="679353" y="2171293"/>
            <a:ext cx="10868218" cy="3478327"/>
            <a:chOff x="955902" y="2039052"/>
            <a:chExt cx="10837174" cy="3478327"/>
          </a:xfrm>
        </p:grpSpPr>
        <p:cxnSp>
          <p:nvCxnSpPr>
            <p:cNvPr id="19" name="Straight Connector 11">
              <a:extLst>
                <a:ext uri="{FF2B5EF4-FFF2-40B4-BE49-F238E27FC236}">
                  <a16:creationId xmlns:a16="http://schemas.microsoft.com/office/drawing/2014/main" xmlns="" id="{59B71D4B-3B10-4341-A629-9AEEE5358161}"/>
                </a:ext>
              </a:extLst>
            </p:cNvPr>
            <p:cNvCxnSpPr>
              <a:cxnSpLocks/>
            </p:cNvCxnSpPr>
            <p:nvPr/>
          </p:nvCxnSpPr>
          <p:spPr>
            <a:xfrm>
              <a:off x="4542938" y="3461103"/>
              <a:ext cx="6493657" cy="0"/>
            </a:xfrm>
            <a:prstGeom prst="line">
              <a:avLst/>
            </a:prstGeom>
            <a:ln w="15875">
              <a:solidFill>
                <a:srgbClr val="5D0B7A"/>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48">
              <a:extLst>
                <a:ext uri="{FF2B5EF4-FFF2-40B4-BE49-F238E27FC236}">
                  <a16:creationId xmlns:a16="http://schemas.microsoft.com/office/drawing/2014/main" xmlns="" id="{3A1B5ABD-5F8A-46EA-887A-8A8B1D107404}"/>
                </a:ext>
              </a:extLst>
            </p:cNvPr>
            <p:cNvCxnSpPr>
              <a:cxnSpLocks/>
            </p:cNvCxnSpPr>
            <p:nvPr/>
          </p:nvCxnSpPr>
          <p:spPr>
            <a:xfrm>
              <a:off x="4542939" y="4474790"/>
              <a:ext cx="6493656" cy="0"/>
            </a:xfrm>
            <a:prstGeom prst="line">
              <a:avLst/>
            </a:prstGeom>
            <a:ln w="15875">
              <a:solidFill>
                <a:srgbClr val="5D0B7A"/>
              </a:solidFill>
              <a:prstDash val="dash"/>
            </a:ln>
          </p:spPr>
          <p:style>
            <a:lnRef idx="1">
              <a:schemeClr val="accent1"/>
            </a:lnRef>
            <a:fillRef idx="0">
              <a:schemeClr val="accent1"/>
            </a:fillRef>
            <a:effectRef idx="0">
              <a:schemeClr val="accent1"/>
            </a:effectRef>
            <a:fontRef idx="minor">
              <a:schemeClr val="tx1"/>
            </a:fontRef>
          </p:style>
        </p:cxnSp>
        <p:sp>
          <p:nvSpPr>
            <p:cNvPr id="30" name="Rectangle 51">
              <a:extLst>
                <a:ext uri="{FF2B5EF4-FFF2-40B4-BE49-F238E27FC236}">
                  <a16:creationId xmlns:a16="http://schemas.microsoft.com/office/drawing/2014/main" xmlns="" id="{89939209-0148-49ED-B0BE-149ED10671A6}"/>
                </a:ext>
              </a:extLst>
            </p:cNvPr>
            <p:cNvSpPr/>
            <p:nvPr/>
          </p:nvSpPr>
          <p:spPr>
            <a:xfrm>
              <a:off x="4475558" y="3658400"/>
              <a:ext cx="6667706" cy="338554"/>
            </a:xfrm>
            <a:prstGeom prst="rect">
              <a:avLst/>
            </a:prstGeom>
          </p:spPr>
          <p:txBody>
            <a:bodyPr wrap="square">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Optionserklärung</a:t>
              </a:r>
              <a:r>
                <a:rPr lang="de-DE" sz="1600" dirty="0">
                  <a:solidFill>
                    <a:srgbClr val="572381"/>
                  </a:solidFill>
                  <a:latin typeface="Calibri" panose="020F0502020204030204" pitchFamily="34" charset="0"/>
                  <a:cs typeface="Calibri" panose="020F0502020204030204" pitchFamily="34" charset="0"/>
                </a:rPr>
                <a:t> für Leistungen, die vor dem 01.01.2021 erbracht werden</a:t>
              </a:r>
            </a:p>
          </p:txBody>
        </p:sp>
        <p:sp>
          <p:nvSpPr>
            <p:cNvPr id="33" name="Rectangle 52">
              <a:extLst>
                <a:ext uri="{FF2B5EF4-FFF2-40B4-BE49-F238E27FC236}">
                  <a16:creationId xmlns:a16="http://schemas.microsoft.com/office/drawing/2014/main" xmlns="" id="{559ECC4C-619B-4C21-84C3-BBADBDA54E74}"/>
                </a:ext>
              </a:extLst>
            </p:cNvPr>
            <p:cNvSpPr/>
            <p:nvPr/>
          </p:nvSpPr>
          <p:spPr>
            <a:xfrm>
              <a:off x="4475557" y="4529002"/>
              <a:ext cx="6667706" cy="830997"/>
            </a:xfrm>
            <a:prstGeom prst="rect">
              <a:avLst/>
            </a:prstGeom>
          </p:spPr>
          <p:txBody>
            <a:bodyPr wrap="square">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Vorschriften UStG gelten</a:t>
              </a:r>
              <a:r>
                <a:rPr lang="de-DE" sz="1600" dirty="0">
                  <a:solidFill>
                    <a:srgbClr val="572381"/>
                  </a:solidFill>
                  <a:latin typeface="Calibri" panose="020F0502020204030204" pitchFamily="34" charset="0"/>
                  <a:cs typeface="Calibri" panose="020F0502020204030204" pitchFamily="34" charset="0"/>
                </a:rPr>
                <a:t> </a:t>
              </a:r>
              <a:r>
                <a:rPr lang="de-DE" sz="1600" b="1" dirty="0">
                  <a:solidFill>
                    <a:srgbClr val="572381"/>
                  </a:solidFill>
                  <a:latin typeface="Calibri" panose="020F0502020204030204" pitchFamily="34" charset="0"/>
                  <a:cs typeface="Calibri" panose="020F0502020204030204" pitchFamily="34" charset="0"/>
                </a:rPr>
                <a:t>vollumfänglich</a:t>
              </a:r>
              <a:r>
                <a:rPr lang="de-DE" sz="1600" dirty="0">
                  <a:solidFill>
                    <a:srgbClr val="572381"/>
                  </a:solidFill>
                  <a:latin typeface="Calibri" panose="020F0502020204030204" pitchFamily="34" charset="0"/>
                  <a:cs typeface="Calibri" panose="020F0502020204030204" pitchFamily="34" charset="0"/>
                </a:rPr>
                <a:t> für alle Körperschaften des öffentlichen Rechts </a:t>
              </a:r>
            </a:p>
            <a:p>
              <a:pPr marL="285750" indent="-285750">
                <a:buFont typeface="Arial" panose="020B0604020202020204" pitchFamily="34" charset="0"/>
                <a:buChar char="•"/>
              </a:pPr>
              <a:endParaRPr lang="de-DE" sz="1600" dirty="0">
                <a:solidFill>
                  <a:srgbClr val="000000"/>
                </a:solidFill>
                <a:latin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xmlns="" id="{3CAC01F7-502F-4387-8FCD-7329D55463C7}"/>
                </a:ext>
              </a:extLst>
            </p:cNvPr>
            <p:cNvGrpSpPr/>
            <p:nvPr/>
          </p:nvGrpSpPr>
          <p:grpSpPr>
            <a:xfrm>
              <a:off x="975472" y="2112521"/>
              <a:ext cx="4052811" cy="1323438"/>
              <a:chOff x="6570585" y="1848190"/>
              <a:chExt cx="4052811" cy="1775637"/>
            </a:xfrm>
          </p:grpSpPr>
          <p:sp>
            <p:nvSpPr>
              <p:cNvPr id="2" name="Arrow: Pentagon 1">
                <a:extLst>
                  <a:ext uri="{FF2B5EF4-FFF2-40B4-BE49-F238E27FC236}">
                    <a16:creationId xmlns:a16="http://schemas.microsoft.com/office/drawing/2014/main" xmlns="" id="{3B70CC4C-A104-4F37-8FEC-D82D7F2D7EF4}"/>
                  </a:ext>
                </a:extLst>
              </p:cNvPr>
              <p:cNvSpPr/>
              <p:nvPr/>
            </p:nvSpPr>
            <p:spPr>
              <a:xfrm rot="5400000">
                <a:off x="7689604" y="1378093"/>
                <a:ext cx="1775637" cy="2715832"/>
              </a:xfrm>
              <a:prstGeom prst="homePlate">
                <a:avLst>
                  <a:gd name="adj" fmla="val 50599"/>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sp>
            <p:nvSpPr>
              <p:cNvPr id="40" name="TextBox 40">
                <a:extLst>
                  <a:ext uri="{FF2B5EF4-FFF2-40B4-BE49-F238E27FC236}">
                    <a16:creationId xmlns:a16="http://schemas.microsoft.com/office/drawing/2014/main" xmlns="" id="{D2DA6DEB-DE9A-4295-B922-209171D4F5DA}"/>
                  </a:ext>
                </a:extLst>
              </p:cNvPr>
              <p:cNvSpPr txBox="1"/>
              <p:nvPr/>
            </p:nvSpPr>
            <p:spPr>
              <a:xfrm>
                <a:off x="6570585" y="2082146"/>
                <a:ext cx="4052811" cy="563429"/>
              </a:xfrm>
              <a:prstGeom prst="rect">
                <a:avLst/>
              </a:prstGeom>
              <a:noFill/>
            </p:spPr>
            <p:txBody>
              <a:bodyPr wrap="none"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r>
                  <a:rPr lang="de-DE" sz="1600" b="1" i="1" dirty="0">
                    <a:solidFill>
                      <a:schemeClr val="tx1">
                        <a:lumMod val="75000"/>
                        <a:lumOff val="25000"/>
                      </a:schemeClr>
                    </a:solidFill>
                    <a:latin typeface="Calibri" panose="020F0502020204030204" pitchFamily="34" charset="0"/>
                    <a:cs typeface="Calibri" panose="020F0502020204030204" pitchFamily="34" charset="0"/>
                  </a:rPr>
                  <a:t>Altes Recht bis </a:t>
                </a:r>
              </a:p>
              <a:p>
                <a:pPr algn="ctr"/>
                <a:r>
                  <a:rPr lang="de-DE" sz="1600" b="1" i="1" dirty="0">
                    <a:solidFill>
                      <a:schemeClr val="tx1">
                        <a:lumMod val="75000"/>
                        <a:lumOff val="25000"/>
                      </a:schemeClr>
                    </a:solidFill>
                    <a:latin typeface="Calibri" panose="020F0502020204030204" pitchFamily="34" charset="0"/>
                    <a:cs typeface="Calibri" panose="020F0502020204030204" pitchFamily="34" charset="0"/>
                  </a:rPr>
                  <a:t>Steueränderungsgesetz 2015  </a:t>
                </a:r>
              </a:p>
            </p:txBody>
          </p:sp>
        </p:grpSp>
        <p:sp>
          <p:nvSpPr>
            <p:cNvPr id="29" name="Rectangle 12">
              <a:extLst>
                <a:ext uri="{FF2B5EF4-FFF2-40B4-BE49-F238E27FC236}">
                  <a16:creationId xmlns:a16="http://schemas.microsoft.com/office/drawing/2014/main" xmlns="" id="{A69C7A3E-8003-4BCE-A8AD-32EE87CB20D2}"/>
                </a:ext>
              </a:extLst>
            </p:cNvPr>
            <p:cNvSpPr/>
            <p:nvPr/>
          </p:nvSpPr>
          <p:spPr>
            <a:xfrm>
              <a:off x="4475558" y="2039052"/>
              <a:ext cx="7317518" cy="1323439"/>
            </a:xfrm>
            <a:prstGeom prst="rect">
              <a:avLst/>
            </a:prstGeom>
          </p:spPr>
          <p:txBody>
            <a:bodyPr wrap="square">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Steuerliche Privilegierung </a:t>
              </a:r>
              <a:r>
                <a:rPr lang="de-DE" sz="1600" dirty="0">
                  <a:solidFill>
                    <a:srgbClr val="572381"/>
                  </a:solidFill>
                  <a:latin typeface="Calibri" panose="020F0502020204030204" pitchFamily="34" charset="0"/>
                  <a:cs typeface="Calibri" panose="020F0502020204030204" pitchFamily="34" charset="0"/>
                </a:rPr>
                <a:t>von Körperschaften des öffentlichen Rechts</a:t>
              </a:r>
            </a:p>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Betriebe gewerblicher Art </a:t>
              </a:r>
              <a:r>
                <a:rPr lang="de-DE" sz="1600" dirty="0">
                  <a:solidFill>
                    <a:srgbClr val="572381"/>
                  </a:solidFill>
                  <a:latin typeface="Calibri" panose="020F0502020204030204" pitchFamily="34" charset="0"/>
                  <a:cs typeface="Calibri" panose="020F0502020204030204" pitchFamily="34" charset="0"/>
                </a:rPr>
                <a:t>(z. B. Buchladen, Beherbergung, Reisen) separat betrachtet</a:t>
              </a:r>
            </a:p>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Nicht steuerbare Verwaltung eigenen Vermögens </a:t>
              </a:r>
              <a:r>
                <a:rPr lang="de-DE" sz="1600" dirty="0">
                  <a:solidFill>
                    <a:srgbClr val="572381"/>
                  </a:solidFill>
                  <a:latin typeface="Calibri" panose="020F0502020204030204" pitchFamily="34" charset="0"/>
                  <a:cs typeface="Calibri" panose="020F0502020204030204" pitchFamily="34" charset="0"/>
                </a:rPr>
                <a:t>(Pacht, Erbpacht, Miete)</a:t>
              </a:r>
            </a:p>
            <a:p>
              <a:pPr marL="285750" indent="-285750">
                <a:buFont typeface="Arial" panose="020B0604020202020204" pitchFamily="34" charset="0"/>
                <a:buChar char="•"/>
              </a:pPr>
              <a:r>
                <a:rPr lang="de-DE" sz="1600" b="1" dirty="0">
                  <a:solidFill>
                    <a:srgbClr val="572381"/>
                  </a:solidFill>
                  <a:latin typeface="Calibri" panose="020F0502020204030204" pitchFamily="34" charset="0"/>
                  <a:cs typeface="Calibri" panose="020F0502020204030204" pitchFamily="34" charset="0"/>
                </a:rPr>
                <a:t>Nicht steuerbare Beistandsleistung</a:t>
              </a:r>
            </a:p>
          </p:txBody>
        </p:sp>
        <p:grpSp>
          <p:nvGrpSpPr>
            <p:cNvPr id="31" name="Group 30">
              <a:extLst>
                <a:ext uri="{FF2B5EF4-FFF2-40B4-BE49-F238E27FC236}">
                  <a16:creationId xmlns:a16="http://schemas.microsoft.com/office/drawing/2014/main" xmlns="" id="{EA7330E3-D00F-4584-8061-31B9912C454B}"/>
                </a:ext>
              </a:extLst>
            </p:cNvPr>
            <p:cNvGrpSpPr/>
            <p:nvPr/>
          </p:nvGrpSpPr>
          <p:grpSpPr>
            <a:xfrm>
              <a:off x="955902" y="3443319"/>
              <a:ext cx="4052811" cy="1027027"/>
              <a:chOff x="6532072" y="1848190"/>
              <a:chExt cx="4052811" cy="1775637"/>
            </a:xfrm>
          </p:grpSpPr>
          <p:sp>
            <p:nvSpPr>
              <p:cNvPr id="32" name="Arrow: Pentagon 31">
                <a:extLst>
                  <a:ext uri="{FF2B5EF4-FFF2-40B4-BE49-F238E27FC236}">
                    <a16:creationId xmlns:a16="http://schemas.microsoft.com/office/drawing/2014/main" xmlns="" id="{E74E4AF7-9553-407F-820C-FB6DF1261D22}"/>
                  </a:ext>
                </a:extLst>
              </p:cNvPr>
              <p:cNvSpPr/>
              <p:nvPr/>
            </p:nvSpPr>
            <p:spPr>
              <a:xfrm rot="5400000">
                <a:off x="7689604" y="1378093"/>
                <a:ext cx="1775637" cy="2715832"/>
              </a:xfrm>
              <a:prstGeom prst="homePlate">
                <a:avLst>
                  <a:gd name="adj" fmla="val 50599"/>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sp>
            <p:nvSpPr>
              <p:cNvPr id="41" name="TextBox 40">
                <a:extLst>
                  <a:ext uri="{FF2B5EF4-FFF2-40B4-BE49-F238E27FC236}">
                    <a16:creationId xmlns:a16="http://schemas.microsoft.com/office/drawing/2014/main" xmlns="" id="{583028F8-357D-4757-9481-B925E8399573}"/>
                  </a:ext>
                </a:extLst>
              </p:cNvPr>
              <p:cNvSpPr txBox="1"/>
              <p:nvPr/>
            </p:nvSpPr>
            <p:spPr>
              <a:xfrm>
                <a:off x="6532072" y="2315737"/>
                <a:ext cx="4052811" cy="563429"/>
              </a:xfrm>
              <a:prstGeom prst="rect">
                <a:avLst/>
              </a:prstGeom>
              <a:noFill/>
            </p:spPr>
            <p:txBody>
              <a:bodyPr wrap="none"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r>
                  <a:rPr lang="de-DE" sz="1600" b="1" i="1" dirty="0">
                    <a:solidFill>
                      <a:schemeClr val="tx1">
                        <a:lumMod val="75000"/>
                        <a:lumOff val="25000"/>
                      </a:schemeClr>
                    </a:solidFill>
                    <a:latin typeface="Calibri" panose="020F0502020204030204" pitchFamily="34" charset="0"/>
                    <a:cs typeface="Calibri" panose="020F0502020204030204" pitchFamily="34" charset="0"/>
                  </a:rPr>
                  <a:t>Übergangszeit</a:t>
                </a:r>
              </a:p>
            </p:txBody>
          </p:sp>
        </p:grpSp>
        <p:grpSp>
          <p:nvGrpSpPr>
            <p:cNvPr id="42" name="Group 41">
              <a:extLst>
                <a:ext uri="{FF2B5EF4-FFF2-40B4-BE49-F238E27FC236}">
                  <a16:creationId xmlns:a16="http://schemas.microsoft.com/office/drawing/2014/main" xmlns="" id="{1296FF2F-F112-4BBB-A783-88928CA7D92B}"/>
                </a:ext>
              </a:extLst>
            </p:cNvPr>
            <p:cNvGrpSpPr/>
            <p:nvPr/>
          </p:nvGrpSpPr>
          <p:grpSpPr>
            <a:xfrm>
              <a:off x="955903" y="4470347"/>
              <a:ext cx="4052811" cy="1047032"/>
              <a:chOff x="6569959" y="1810828"/>
              <a:chExt cx="4052811" cy="1775637"/>
            </a:xfrm>
          </p:grpSpPr>
          <p:sp>
            <p:nvSpPr>
              <p:cNvPr id="43" name="Arrow: Pentagon 42">
                <a:extLst>
                  <a:ext uri="{FF2B5EF4-FFF2-40B4-BE49-F238E27FC236}">
                    <a16:creationId xmlns:a16="http://schemas.microsoft.com/office/drawing/2014/main" xmlns="" id="{6FB0B2F1-C9E0-410A-8766-BC1EB7BAC820}"/>
                  </a:ext>
                </a:extLst>
              </p:cNvPr>
              <p:cNvSpPr/>
              <p:nvPr/>
            </p:nvSpPr>
            <p:spPr>
              <a:xfrm rot="5400000">
                <a:off x="7689605" y="1340731"/>
                <a:ext cx="1775637" cy="2715832"/>
              </a:xfrm>
              <a:prstGeom prst="homePlate">
                <a:avLst>
                  <a:gd name="adj" fmla="val 50599"/>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sp>
            <p:nvSpPr>
              <p:cNvPr id="44" name="TextBox 43">
                <a:extLst>
                  <a:ext uri="{FF2B5EF4-FFF2-40B4-BE49-F238E27FC236}">
                    <a16:creationId xmlns:a16="http://schemas.microsoft.com/office/drawing/2014/main" xmlns="" id="{002295DD-6FB0-4B99-8FC1-8BADEB53EBB1}"/>
                  </a:ext>
                </a:extLst>
              </p:cNvPr>
              <p:cNvSpPr txBox="1"/>
              <p:nvPr/>
            </p:nvSpPr>
            <p:spPr>
              <a:xfrm>
                <a:off x="6569959" y="1988751"/>
                <a:ext cx="4052811" cy="563430"/>
              </a:xfrm>
              <a:prstGeom prst="rect">
                <a:avLst/>
              </a:prstGeom>
              <a:noFill/>
            </p:spPr>
            <p:txBody>
              <a:bodyPr wrap="none"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r>
                  <a:rPr lang="de-DE" sz="1600" b="1" i="1" dirty="0">
                    <a:solidFill>
                      <a:schemeClr val="tx1">
                        <a:lumMod val="75000"/>
                        <a:lumOff val="25000"/>
                      </a:schemeClr>
                    </a:solidFill>
                    <a:latin typeface="Calibri" panose="020F0502020204030204" pitchFamily="34" charset="0"/>
                    <a:cs typeface="Calibri" panose="020F0502020204030204" pitchFamily="34" charset="0"/>
                  </a:rPr>
                  <a:t>Neues Recht </a:t>
                </a:r>
              </a:p>
              <a:p>
                <a:pPr algn="ctr"/>
                <a:r>
                  <a:rPr lang="de-DE" sz="1600" b="1" i="1" dirty="0">
                    <a:solidFill>
                      <a:schemeClr val="tx1">
                        <a:lumMod val="75000"/>
                        <a:lumOff val="25000"/>
                      </a:schemeClr>
                    </a:solidFill>
                    <a:latin typeface="Calibri" panose="020F0502020204030204" pitchFamily="34" charset="0"/>
                    <a:cs typeface="Calibri" panose="020F0502020204030204" pitchFamily="34" charset="0"/>
                  </a:rPr>
                  <a:t>tritt in Kraft </a:t>
                </a:r>
                <a:r>
                  <a:rPr lang="de-DE" sz="1600" b="1" i="1" dirty="0" smtClean="0">
                    <a:solidFill>
                      <a:schemeClr val="tx1">
                        <a:lumMod val="75000"/>
                        <a:lumOff val="25000"/>
                      </a:schemeClr>
                    </a:solidFill>
                    <a:latin typeface="Calibri" panose="020F0502020204030204" pitchFamily="34" charset="0"/>
                    <a:cs typeface="Calibri" panose="020F0502020204030204" pitchFamily="34" charset="0"/>
                  </a:rPr>
                  <a:t>01.01.2023</a:t>
                </a:r>
                <a:endParaRPr lang="de-DE" sz="1600" b="1" i="1" dirty="0">
                  <a:solidFill>
                    <a:schemeClr val="tx1">
                      <a:lumMod val="75000"/>
                      <a:lumOff val="25000"/>
                    </a:schemeClr>
                  </a:solidFill>
                  <a:latin typeface="Calibri" panose="020F0502020204030204" pitchFamily="34" charset="0"/>
                  <a:cs typeface="Calibri" panose="020F0502020204030204" pitchFamily="34" charset="0"/>
                </a:endParaRPr>
              </a:p>
            </p:txBody>
          </p:sp>
        </p:grpSp>
      </p:grpSp>
      <p:sp>
        <p:nvSpPr>
          <p:cNvPr id="8" name="Foliennummernplatzhalter 7"/>
          <p:cNvSpPr>
            <a:spLocks noGrp="1"/>
          </p:cNvSpPr>
          <p:nvPr>
            <p:ph type="sldNum" sz="quarter" idx="12"/>
          </p:nvPr>
        </p:nvSpPr>
        <p:spPr/>
        <p:txBody>
          <a:bodyPr/>
          <a:lstStyle/>
          <a:p>
            <a:pPr>
              <a:defRPr/>
            </a:pPr>
            <a:fld id="{BEA88772-2E14-493F-A726-E8A7A8CFB7CD}" type="slidenum">
              <a:rPr lang="de-DE" altLang="en-US" smtClean="0"/>
              <a:pPr>
                <a:defRPr/>
              </a:pPr>
              <a:t>8</a:t>
            </a:fld>
            <a:endParaRPr lang="de-DE" altLang="en-US"/>
          </a:p>
        </p:txBody>
      </p:sp>
    </p:spTree>
    <p:extLst>
      <p:ext uri="{BB962C8B-B14F-4D97-AF65-F5344CB8AC3E}">
        <p14:creationId xmlns:p14="http://schemas.microsoft.com/office/powerpoint/2010/main" val="35465338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C1BF6B-6949-405E-8008-DB8934349BEB}"/>
              </a:ext>
            </a:extLst>
          </p:cNvPr>
          <p:cNvGraphicFramePr>
            <a:graphicFrameLocks noChangeAspect="1"/>
          </p:cNvGraphicFramePr>
          <p:nvPr>
            <p:custDataLst>
              <p:tags r:id="rId2"/>
            </p:custDataLst>
            <p:extLst>
              <p:ext uri="{D42A27DB-BD31-4B8C-83A1-F6EECF244321}">
                <p14:modId xmlns:p14="http://schemas.microsoft.com/office/powerpoint/2010/main" val="424770035"/>
              </p:ext>
            </p:extLst>
          </p:nvPr>
        </p:nvGraphicFramePr>
        <p:xfrm>
          <a:off x="1593" y="1588"/>
          <a:ext cx="1593" cy="1588"/>
        </p:xfrm>
        <a:graphic>
          <a:graphicData uri="http://schemas.openxmlformats.org/presentationml/2006/ole">
            <mc:AlternateContent xmlns:mc="http://schemas.openxmlformats.org/markup-compatibility/2006">
              <mc:Choice xmlns:v="urn:schemas-microsoft-com:vml" Requires="v">
                <p:oleObj spid="_x0000_s6247" name="think-cell Slide" r:id="rId6" imgW="226" imgH="229" progId="TCLayout.ActiveDocument.1">
                  <p:embed/>
                </p:oleObj>
              </mc:Choice>
              <mc:Fallback>
                <p:oleObj name="think-cell Slide" r:id="rId6" imgW="226" imgH="229" progId="TCLayout.ActiveDocument.1">
                  <p:embed/>
                  <p:pic>
                    <p:nvPicPr>
                      <p:cNvPr id="0" name=""/>
                      <p:cNvPicPr/>
                      <p:nvPr/>
                    </p:nvPicPr>
                    <p:blipFill>
                      <a:blip r:embed="rId7"/>
                      <a:stretch>
                        <a:fillRect/>
                      </a:stretch>
                    </p:blipFill>
                    <p:spPr>
                      <a:xfrm>
                        <a:off x="1593" y="1588"/>
                        <a:ext cx="1593"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8AC55D1-CC65-4B57-ACB8-ED04CA586570}"/>
              </a:ext>
            </a:extLst>
          </p:cNvPr>
          <p:cNvSpPr/>
          <p:nvPr>
            <p:custDataLst>
              <p:tags r:id="rId3"/>
            </p:custDataLst>
          </p:nvPr>
        </p:nvSpPr>
        <p:spPr>
          <a:xfrm>
            <a:off x="1" y="0"/>
            <a:ext cx="159205"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de-DE" sz="3200" dirty="0">
              <a:latin typeface="Georgia" panose="02040502050405020303" pitchFamily="18" charset="0"/>
              <a:ea typeface="+mj-ea"/>
              <a:cs typeface="+mj-cs"/>
              <a:sym typeface="Georgia" panose="02040502050405020303" pitchFamily="18" charset="0"/>
            </a:endParaRPr>
          </a:p>
        </p:txBody>
      </p:sp>
      <p:sp>
        <p:nvSpPr>
          <p:cNvPr id="49" name="Oval 48">
            <a:extLst>
              <a:ext uri="{FF2B5EF4-FFF2-40B4-BE49-F238E27FC236}">
                <a16:creationId xmlns:a16="http://schemas.microsoft.com/office/drawing/2014/main" xmlns="" id="{6D385BF6-8861-4947-8C12-073F13F89E50}"/>
              </a:ext>
            </a:extLst>
          </p:cNvPr>
          <p:cNvSpPr/>
          <p:nvPr/>
        </p:nvSpPr>
        <p:spPr>
          <a:xfrm>
            <a:off x="3732535" y="2472844"/>
            <a:ext cx="633324" cy="240597"/>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dirty="0"/>
          </a:p>
        </p:txBody>
      </p:sp>
      <p:grpSp>
        <p:nvGrpSpPr>
          <p:cNvPr id="8" name="Group 7">
            <a:extLst>
              <a:ext uri="{FF2B5EF4-FFF2-40B4-BE49-F238E27FC236}">
                <a16:creationId xmlns:a16="http://schemas.microsoft.com/office/drawing/2014/main" xmlns="" id="{2F0CD9B2-2F24-4683-95A6-4F3245678954}"/>
              </a:ext>
            </a:extLst>
          </p:cNvPr>
          <p:cNvGrpSpPr/>
          <p:nvPr/>
        </p:nvGrpSpPr>
        <p:grpSpPr>
          <a:xfrm>
            <a:off x="6282528" y="1845354"/>
            <a:ext cx="4920610" cy="779843"/>
            <a:chOff x="6424071" y="1823131"/>
            <a:chExt cx="4906554" cy="779843"/>
          </a:xfrm>
        </p:grpSpPr>
        <p:sp>
          <p:nvSpPr>
            <p:cNvPr id="51" name="Rectangle: Rounded Corners 50">
              <a:extLst>
                <a:ext uri="{FF2B5EF4-FFF2-40B4-BE49-F238E27FC236}">
                  <a16:creationId xmlns:a16="http://schemas.microsoft.com/office/drawing/2014/main" xmlns="" id="{F4CEB11D-A300-421F-BB67-2B29749D36AA}"/>
                </a:ext>
              </a:extLst>
            </p:cNvPr>
            <p:cNvSpPr/>
            <p:nvPr/>
          </p:nvSpPr>
          <p:spPr>
            <a:xfrm>
              <a:off x="6424071" y="1823131"/>
              <a:ext cx="882431"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dirty="0">
                <a:solidFill>
                  <a:srgbClr val="572381"/>
                </a:solidFill>
              </a:endParaRPr>
            </a:p>
          </p:txBody>
        </p:sp>
        <p:sp>
          <p:nvSpPr>
            <p:cNvPr id="52" name="Rectangle 51">
              <a:extLst>
                <a:ext uri="{FF2B5EF4-FFF2-40B4-BE49-F238E27FC236}">
                  <a16:creationId xmlns:a16="http://schemas.microsoft.com/office/drawing/2014/main" xmlns="" id="{BED3FE9C-C8E6-42CD-B13E-7F1631398D1E}"/>
                </a:ext>
              </a:extLst>
            </p:cNvPr>
            <p:cNvSpPr/>
            <p:nvPr/>
          </p:nvSpPr>
          <p:spPr>
            <a:xfrm>
              <a:off x="6865287" y="18231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 Lieferungen und sonstige Leistungen, die ein Unternehmer im Inland </a:t>
              </a:r>
              <a:r>
                <a:rPr lang="de-DE" sz="1600" b="1" dirty="0">
                  <a:solidFill>
                    <a:srgbClr val="572381"/>
                  </a:solidFill>
                  <a:latin typeface="Calibri" panose="020F0502020204030204" pitchFamily="34" charset="0"/>
                  <a:cs typeface="Calibri" panose="020F0502020204030204" pitchFamily="34" charset="0"/>
                </a:rPr>
                <a:t>gegen Entgelt</a:t>
              </a:r>
              <a:r>
                <a:rPr lang="de-DE" sz="1600" dirty="0">
                  <a:solidFill>
                    <a:srgbClr val="572381"/>
                  </a:solidFill>
                  <a:latin typeface="Calibri" panose="020F0502020204030204" pitchFamily="34" charset="0"/>
                  <a:cs typeface="Calibri" panose="020F0502020204030204" pitchFamily="34" charset="0"/>
                </a:rPr>
                <a:t> im Rahmen seines Unternehmens ausführt</a:t>
              </a:r>
            </a:p>
          </p:txBody>
        </p:sp>
      </p:grpSp>
      <p:grpSp>
        <p:nvGrpSpPr>
          <p:cNvPr id="16" name="Group 15">
            <a:extLst>
              <a:ext uri="{FF2B5EF4-FFF2-40B4-BE49-F238E27FC236}">
                <a16:creationId xmlns:a16="http://schemas.microsoft.com/office/drawing/2014/main" xmlns="" id="{BC238505-0A1A-4E40-91A7-9B606331DE56}"/>
              </a:ext>
            </a:extLst>
          </p:cNvPr>
          <p:cNvGrpSpPr/>
          <p:nvPr/>
        </p:nvGrpSpPr>
        <p:grpSpPr>
          <a:xfrm>
            <a:off x="562722" y="1810432"/>
            <a:ext cx="5453628" cy="347978"/>
            <a:chOff x="671548" y="2280475"/>
            <a:chExt cx="5438051" cy="347978"/>
          </a:xfrm>
        </p:grpSpPr>
        <p:sp>
          <p:nvSpPr>
            <p:cNvPr id="69" name="Rectangle 68">
              <a:extLst>
                <a:ext uri="{FF2B5EF4-FFF2-40B4-BE49-F238E27FC236}">
                  <a16:creationId xmlns:a16="http://schemas.microsoft.com/office/drawing/2014/main" xmlns="" id="{6FBA5717-1D10-45E9-8714-060FC5009F47}"/>
                </a:ext>
              </a:extLst>
            </p:cNvPr>
            <p:cNvSpPr/>
            <p:nvPr/>
          </p:nvSpPr>
          <p:spPr>
            <a:xfrm>
              <a:off x="671548" y="2280475"/>
              <a:ext cx="5438051" cy="338554"/>
            </a:xfrm>
            <a:prstGeom prst="rect">
              <a:avLst/>
            </a:prstGeom>
          </p:spPr>
          <p:txBody>
            <a:bodyPr wrap="square">
              <a:spAutoFit/>
            </a:bodyPr>
            <a:lstStyle/>
            <a:p>
              <a:pPr algn="ctr"/>
              <a:r>
                <a:rPr lang="de-DE" sz="1600" spc="300" dirty="0">
                  <a:solidFill>
                    <a:schemeClr val="tx1">
                      <a:lumMod val="65000"/>
                      <a:lumOff val="35000"/>
                    </a:schemeClr>
                  </a:solidFill>
                  <a:latin typeface="Calibri" panose="020F0502020204030204" pitchFamily="34" charset="0"/>
                  <a:cs typeface="Calibri" panose="020F0502020204030204" pitchFamily="34" charset="0"/>
                </a:rPr>
                <a:t>Der Umsatzsteuer unterliegen Umsätze für… </a:t>
              </a:r>
              <a:endParaRPr lang="de-DE" sz="1600" dirty="0">
                <a:solidFill>
                  <a:schemeClr val="tx1">
                    <a:lumMod val="65000"/>
                    <a:lumOff val="35000"/>
                  </a:schemeClr>
                </a:solidFill>
              </a:endParaRPr>
            </a:p>
          </p:txBody>
        </p:sp>
        <p:cxnSp>
          <p:nvCxnSpPr>
            <p:cNvPr id="70" name="Straight Connector 69">
              <a:extLst>
                <a:ext uri="{FF2B5EF4-FFF2-40B4-BE49-F238E27FC236}">
                  <a16:creationId xmlns:a16="http://schemas.microsoft.com/office/drawing/2014/main" xmlns="" id="{4133112E-5E3D-4F99-9107-EB10404B3FBE}"/>
                </a:ext>
              </a:extLst>
            </p:cNvPr>
            <p:cNvCxnSpPr>
              <a:cxnSpLocks/>
            </p:cNvCxnSpPr>
            <p:nvPr/>
          </p:nvCxnSpPr>
          <p:spPr>
            <a:xfrm flipV="1">
              <a:off x="780285" y="2619415"/>
              <a:ext cx="5216285" cy="9038"/>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sp>
        <p:nvSpPr>
          <p:cNvPr id="21" name="Oval 20">
            <a:extLst>
              <a:ext uri="{FF2B5EF4-FFF2-40B4-BE49-F238E27FC236}">
                <a16:creationId xmlns:a16="http://schemas.microsoft.com/office/drawing/2014/main" xmlns="" id="{3800B54E-0221-4BD3-BF5D-E41BAF800D95}"/>
              </a:ext>
            </a:extLst>
          </p:cNvPr>
          <p:cNvSpPr/>
          <p:nvPr/>
        </p:nvSpPr>
        <p:spPr>
          <a:xfrm>
            <a:off x="6713893" y="3980758"/>
            <a:ext cx="633324" cy="240597"/>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de-DE" sz="1600" dirty="0"/>
          </a:p>
        </p:txBody>
      </p:sp>
      <p:grpSp>
        <p:nvGrpSpPr>
          <p:cNvPr id="7" name="Group 6">
            <a:extLst>
              <a:ext uri="{FF2B5EF4-FFF2-40B4-BE49-F238E27FC236}">
                <a16:creationId xmlns:a16="http://schemas.microsoft.com/office/drawing/2014/main" xmlns="" id="{27BE12F0-F675-44D0-B232-06D627C088AC}"/>
              </a:ext>
            </a:extLst>
          </p:cNvPr>
          <p:cNvGrpSpPr/>
          <p:nvPr/>
        </p:nvGrpSpPr>
        <p:grpSpPr>
          <a:xfrm>
            <a:off x="607991" y="3405802"/>
            <a:ext cx="4920611" cy="2671161"/>
            <a:chOff x="6424068" y="3515013"/>
            <a:chExt cx="4906556" cy="2671161"/>
          </a:xfrm>
        </p:grpSpPr>
        <p:sp>
          <p:nvSpPr>
            <p:cNvPr id="6" name="Rectangle: Rounded Corners 5">
              <a:extLst>
                <a:ext uri="{FF2B5EF4-FFF2-40B4-BE49-F238E27FC236}">
                  <a16:creationId xmlns:a16="http://schemas.microsoft.com/office/drawing/2014/main" xmlns="" id="{3C01B7B7-9104-45A6-A0F2-61E78CC4B162}"/>
                </a:ext>
              </a:extLst>
            </p:cNvPr>
            <p:cNvSpPr/>
            <p:nvPr/>
          </p:nvSpPr>
          <p:spPr>
            <a:xfrm>
              <a:off x="6424069" y="3515013"/>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10" name="Rectangle 9">
              <a:extLst>
                <a:ext uri="{FF2B5EF4-FFF2-40B4-BE49-F238E27FC236}">
                  <a16:creationId xmlns:a16="http://schemas.microsoft.com/office/drawing/2014/main" xmlns="" id="{39B8E973-9DAB-45FF-91A3-172509F01D89}"/>
                </a:ext>
              </a:extLst>
            </p:cNvPr>
            <p:cNvSpPr/>
            <p:nvPr/>
          </p:nvSpPr>
          <p:spPr>
            <a:xfrm>
              <a:off x="6865286" y="3515013"/>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 eine gewerbliche oder berufliche Tätigkeit selbständig ausübt</a:t>
              </a:r>
            </a:p>
          </p:txBody>
        </p:sp>
        <p:sp>
          <p:nvSpPr>
            <p:cNvPr id="33" name="Rectangle: Rounded Corners 32">
              <a:extLst>
                <a:ext uri="{FF2B5EF4-FFF2-40B4-BE49-F238E27FC236}">
                  <a16:creationId xmlns:a16="http://schemas.microsoft.com/office/drawing/2014/main" xmlns="" id="{82EDB147-3AF0-409D-880B-B3B7A274A6FA}"/>
                </a:ext>
              </a:extLst>
            </p:cNvPr>
            <p:cNvSpPr/>
            <p:nvPr/>
          </p:nvSpPr>
          <p:spPr>
            <a:xfrm>
              <a:off x="6424068" y="4460675"/>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35" name="Rectangle 34">
              <a:extLst>
                <a:ext uri="{FF2B5EF4-FFF2-40B4-BE49-F238E27FC236}">
                  <a16:creationId xmlns:a16="http://schemas.microsoft.com/office/drawing/2014/main" xmlns="" id="{B91BC5B1-A022-498A-94AA-98D2DC533EDF}"/>
                </a:ext>
              </a:extLst>
            </p:cNvPr>
            <p:cNvSpPr/>
            <p:nvPr/>
          </p:nvSpPr>
          <p:spPr>
            <a:xfrm>
              <a:off x="6865287" y="4460671"/>
              <a:ext cx="4465337"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Gewerblich oder beruflich ist jede nachhaltige Tätigkeit zur Erzielung von Einnahmen, …</a:t>
              </a:r>
            </a:p>
          </p:txBody>
        </p:sp>
        <p:sp>
          <p:nvSpPr>
            <p:cNvPr id="39" name="Rectangle: Rounded Corners 38">
              <a:extLst>
                <a:ext uri="{FF2B5EF4-FFF2-40B4-BE49-F238E27FC236}">
                  <a16:creationId xmlns:a16="http://schemas.microsoft.com/office/drawing/2014/main" xmlns="" id="{DCCF6C70-1CB0-4B11-AD4D-69CB87C6FBCD}"/>
                </a:ext>
              </a:extLst>
            </p:cNvPr>
            <p:cNvSpPr/>
            <p:nvPr/>
          </p:nvSpPr>
          <p:spPr>
            <a:xfrm>
              <a:off x="6424069" y="5406331"/>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40" name="Rectangle 39">
              <a:extLst>
                <a:ext uri="{FF2B5EF4-FFF2-40B4-BE49-F238E27FC236}">
                  <a16:creationId xmlns:a16="http://schemas.microsoft.com/office/drawing/2014/main" xmlns="" id="{2C48B2AE-0BD3-4F9E-9D6F-F9AB46EE2A35}"/>
                </a:ext>
              </a:extLst>
            </p:cNvPr>
            <p:cNvSpPr/>
            <p:nvPr/>
          </p:nvSpPr>
          <p:spPr>
            <a:xfrm>
              <a:off x="6865286" y="54063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 </a:t>
              </a:r>
              <a:r>
                <a:rPr lang="de-DE" sz="1600" b="1" dirty="0">
                  <a:solidFill>
                    <a:srgbClr val="572381"/>
                  </a:solidFill>
                  <a:latin typeface="Calibri" panose="020F0502020204030204" pitchFamily="34" charset="0"/>
                  <a:cs typeface="Calibri" panose="020F0502020204030204" pitchFamily="34" charset="0"/>
                </a:rPr>
                <a:t>auch wenn die Absicht, Gewinn zu erzielen, fehlt </a:t>
              </a:r>
              <a:r>
                <a:rPr lang="de-DE" sz="1600" dirty="0">
                  <a:solidFill>
                    <a:srgbClr val="572381"/>
                  </a:solidFill>
                  <a:latin typeface="Calibri" panose="020F0502020204030204" pitchFamily="34" charset="0"/>
                  <a:cs typeface="Calibri" panose="020F0502020204030204" pitchFamily="34" charset="0"/>
                </a:rPr>
                <a:t>… (vgl. § 2 UStG)</a:t>
              </a:r>
            </a:p>
          </p:txBody>
        </p:sp>
      </p:grpSp>
      <p:grpSp>
        <p:nvGrpSpPr>
          <p:cNvPr id="17" name="Group 16">
            <a:extLst>
              <a:ext uri="{FF2B5EF4-FFF2-40B4-BE49-F238E27FC236}">
                <a16:creationId xmlns:a16="http://schemas.microsoft.com/office/drawing/2014/main" xmlns="" id="{5DA40B9C-0023-46D3-A0F9-5F0CC964E1E7}"/>
              </a:ext>
            </a:extLst>
          </p:cNvPr>
          <p:cNvGrpSpPr/>
          <p:nvPr/>
        </p:nvGrpSpPr>
        <p:grpSpPr>
          <a:xfrm>
            <a:off x="159205" y="2951843"/>
            <a:ext cx="5464989" cy="360265"/>
            <a:chOff x="5581354" y="2275383"/>
            <a:chExt cx="5449379" cy="360265"/>
          </a:xfrm>
        </p:grpSpPr>
        <p:sp>
          <p:nvSpPr>
            <p:cNvPr id="71" name="Rectangle 70">
              <a:extLst>
                <a:ext uri="{FF2B5EF4-FFF2-40B4-BE49-F238E27FC236}">
                  <a16:creationId xmlns:a16="http://schemas.microsoft.com/office/drawing/2014/main" xmlns="" id="{CC0584C2-9E42-4453-815E-A2FAAEA7FD5A}"/>
                </a:ext>
              </a:extLst>
            </p:cNvPr>
            <p:cNvSpPr/>
            <p:nvPr/>
          </p:nvSpPr>
          <p:spPr>
            <a:xfrm>
              <a:off x="5581354" y="2275383"/>
              <a:ext cx="4300646" cy="338554"/>
            </a:xfrm>
            <a:prstGeom prst="rect">
              <a:avLst/>
            </a:prstGeom>
          </p:spPr>
          <p:txBody>
            <a:bodyPr wrap="square">
              <a:spAutoFit/>
            </a:bodyPr>
            <a:lstStyle/>
            <a:p>
              <a:pPr algn="ctr"/>
              <a:r>
                <a:rPr lang="de-DE" sz="1600" spc="300" dirty="0">
                  <a:solidFill>
                    <a:schemeClr val="tx1">
                      <a:lumMod val="65000"/>
                      <a:lumOff val="35000"/>
                    </a:schemeClr>
                  </a:solidFill>
                  <a:latin typeface="Calibri" panose="020F0502020204030204" pitchFamily="34" charset="0"/>
                  <a:cs typeface="Calibri" panose="020F0502020204030204" pitchFamily="34" charset="0"/>
                </a:rPr>
                <a:t>Als Unternehmer gilt, wer…</a:t>
              </a:r>
              <a:endParaRPr lang="de-DE" sz="1600" dirty="0">
                <a:solidFill>
                  <a:schemeClr val="tx1">
                    <a:lumMod val="65000"/>
                    <a:lumOff val="35000"/>
                  </a:schemeClr>
                </a:solidFill>
              </a:endParaRPr>
            </a:p>
          </p:txBody>
        </p:sp>
        <p:cxnSp>
          <p:nvCxnSpPr>
            <p:cNvPr id="72" name="Straight Connector 71">
              <a:extLst>
                <a:ext uri="{FF2B5EF4-FFF2-40B4-BE49-F238E27FC236}">
                  <a16:creationId xmlns:a16="http://schemas.microsoft.com/office/drawing/2014/main" xmlns="" id="{4655ADE8-9449-4FE4-A4EF-FF23352CE807}"/>
                </a:ext>
              </a:extLst>
            </p:cNvPr>
            <p:cNvCxnSpPr>
              <a:cxnSpLocks/>
            </p:cNvCxnSpPr>
            <p:nvPr/>
          </p:nvCxnSpPr>
          <p:spPr>
            <a:xfrm>
              <a:off x="6056144" y="2635648"/>
              <a:ext cx="4974589" cy="0"/>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sp>
        <p:nvSpPr>
          <p:cNvPr id="45" name="Title 1">
            <a:extLst>
              <a:ext uri="{FF2B5EF4-FFF2-40B4-BE49-F238E27FC236}">
                <a16:creationId xmlns:a16="http://schemas.microsoft.com/office/drawing/2014/main" xmlns="" id="{33A23532-2BB5-4923-92EF-7A7AD39A232F}"/>
              </a:ext>
            </a:extLst>
          </p:cNvPr>
          <p:cNvSpPr txBox="1">
            <a:spLocks/>
          </p:cNvSpPr>
          <p:nvPr/>
        </p:nvSpPr>
        <p:spPr>
          <a:xfrm>
            <a:off x="451972" y="449286"/>
            <a:ext cx="11338562" cy="77984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pPr>
            <a:r>
              <a:rPr lang="de-DE" sz="1000" spc="150" dirty="0">
                <a:solidFill>
                  <a:schemeClr val="tx1">
                    <a:lumMod val="50000"/>
                    <a:lumOff val="50000"/>
                  </a:schemeClr>
                </a:solidFill>
                <a:latin typeface="Calibri" panose="020F0502020204030204" pitchFamily="34" charset="0"/>
                <a:cs typeface="Calibri" panose="020F0502020204030204" pitchFamily="34" charset="0"/>
              </a:rPr>
              <a:t>RECHTLICHE </a:t>
            </a:r>
            <a:r>
              <a:rPr lang="de-DE" sz="1000" spc="150" dirty="0" smtClean="0">
                <a:solidFill>
                  <a:schemeClr val="tx1">
                    <a:lumMod val="50000"/>
                    <a:lumOff val="50000"/>
                  </a:schemeClr>
                </a:solidFill>
                <a:latin typeface="Calibri" panose="020F0502020204030204" pitchFamily="34" charset="0"/>
                <a:cs typeface="Calibri" panose="020F0502020204030204" pitchFamily="34" charset="0"/>
              </a:rPr>
              <a:t>RAHMENBEDINGUNGEN</a:t>
            </a:r>
            <a:endParaRPr lang="de-DE" sz="1000" spc="15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11" name="Date Placeholder 10">
            <a:extLst>
              <a:ext uri="{FF2B5EF4-FFF2-40B4-BE49-F238E27FC236}">
                <a16:creationId xmlns:a16="http://schemas.microsoft.com/office/drawing/2014/main" xmlns="" id="{86F04E9F-881A-490D-BA73-72DA1698B5EC}"/>
              </a:ext>
            </a:extLst>
          </p:cNvPr>
          <p:cNvSpPr>
            <a:spLocks noGrp="1"/>
          </p:cNvSpPr>
          <p:nvPr>
            <p:ph type="dt" sz="half" idx="10"/>
          </p:nvPr>
        </p:nvSpPr>
        <p:spPr/>
        <p:txBody>
          <a:bodyPr/>
          <a:lstStyle/>
          <a:p>
            <a:fld id="{8E9DE768-7851-4627-BAAF-20DEF8326B9A}" type="datetime1">
              <a:rPr lang="de-DE" smtClean="0"/>
              <a:t>06.07.2021</a:t>
            </a:fld>
            <a:endParaRPr lang="de-DE" dirty="0"/>
          </a:p>
        </p:txBody>
      </p:sp>
      <p:sp>
        <p:nvSpPr>
          <p:cNvPr id="15" name="Footer Placeholder 14">
            <a:extLst>
              <a:ext uri="{FF2B5EF4-FFF2-40B4-BE49-F238E27FC236}">
                <a16:creationId xmlns:a16="http://schemas.microsoft.com/office/drawing/2014/main" xmlns="" id="{75304930-7B4A-4AAA-BE91-5A21D20D6144}"/>
              </a:ext>
            </a:extLst>
          </p:cNvPr>
          <p:cNvSpPr>
            <a:spLocks noGrp="1"/>
          </p:cNvSpPr>
          <p:nvPr>
            <p:ph type="ftr" sz="quarter" idx="11"/>
          </p:nvPr>
        </p:nvSpPr>
        <p:spPr/>
        <p:txBody>
          <a:bodyPr/>
          <a:lstStyle/>
          <a:p>
            <a:r>
              <a:rPr lang="de-DE" dirty="0"/>
              <a:t>EKHN</a:t>
            </a:r>
          </a:p>
        </p:txBody>
      </p:sp>
      <p:sp>
        <p:nvSpPr>
          <p:cNvPr id="2" name="Slide Number Placeholder 1">
            <a:extLst>
              <a:ext uri="{FF2B5EF4-FFF2-40B4-BE49-F238E27FC236}">
                <a16:creationId xmlns:a16="http://schemas.microsoft.com/office/drawing/2014/main" xmlns="" id="{81B5D1A3-3D8F-4F2A-8231-198600E6C1E7}"/>
              </a:ext>
            </a:extLst>
          </p:cNvPr>
          <p:cNvSpPr>
            <a:spLocks noGrp="1"/>
          </p:cNvSpPr>
          <p:nvPr>
            <p:ph type="sldNum" sz="quarter" idx="12"/>
          </p:nvPr>
        </p:nvSpPr>
        <p:spPr/>
        <p:txBody>
          <a:bodyPr/>
          <a:lstStyle/>
          <a:p>
            <a:fld id="{1C198799-69ED-41F3-BD93-533E14B4A78A}" type="slidenum">
              <a:rPr lang="de-DE" smtClean="0"/>
              <a:pPr/>
              <a:t>9</a:t>
            </a:fld>
            <a:endParaRPr lang="de-DE" dirty="0"/>
          </a:p>
        </p:txBody>
      </p:sp>
      <p:sp>
        <p:nvSpPr>
          <p:cNvPr id="3" name="Titel 2"/>
          <p:cNvSpPr>
            <a:spLocks noGrp="1"/>
          </p:cNvSpPr>
          <p:nvPr>
            <p:ph type="title"/>
          </p:nvPr>
        </p:nvSpPr>
        <p:spPr>
          <a:xfrm>
            <a:off x="934396" y="649639"/>
            <a:ext cx="6450145" cy="379140"/>
          </a:xfrm>
        </p:spPr>
        <p:txBody>
          <a:bodyPr/>
          <a:lstStyle/>
          <a:p>
            <a:r>
              <a:rPr lang="de-DE" dirty="0">
                <a:latin typeface="Calibri" panose="020F0502020204030204" pitchFamily="34" charset="0"/>
                <a:cs typeface="Calibri" panose="020F0502020204030204" pitchFamily="34" charset="0"/>
              </a:rPr>
              <a:t>Grundlagen und Vorschriften zur </a:t>
            </a:r>
            <a:r>
              <a:rPr lang="de-DE" dirty="0" smtClean="0">
                <a:latin typeface="Calibri" panose="020F0502020204030204" pitchFamily="34" charset="0"/>
                <a:cs typeface="Calibri" panose="020F0502020204030204" pitchFamily="34" charset="0"/>
              </a:rPr>
              <a:t>Umsatzsteuer</a:t>
            </a:r>
            <a:endParaRPr lang="de-DE" dirty="0"/>
          </a:p>
        </p:txBody>
      </p:sp>
      <p:grpSp>
        <p:nvGrpSpPr>
          <p:cNvPr id="37" name="Group 36">
            <a:extLst>
              <a:ext uri="{FF2B5EF4-FFF2-40B4-BE49-F238E27FC236}">
                <a16:creationId xmlns:a16="http://schemas.microsoft.com/office/drawing/2014/main" xmlns="" id="{C23406CC-A45C-4219-9320-A56A5CE54274}"/>
              </a:ext>
            </a:extLst>
          </p:cNvPr>
          <p:cNvGrpSpPr/>
          <p:nvPr/>
        </p:nvGrpSpPr>
        <p:grpSpPr>
          <a:xfrm>
            <a:off x="6304508" y="3404810"/>
            <a:ext cx="4920611" cy="2671161"/>
            <a:chOff x="6424068" y="3515013"/>
            <a:chExt cx="4906556" cy="2671161"/>
          </a:xfrm>
        </p:grpSpPr>
        <p:sp>
          <p:nvSpPr>
            <p:cNvPr id="38" name="Rectangle: Rounded Corners 37">
              <a:extLst>
                <a:ext uri="{FF2B5EF4-FFF2-40B4-BE49-F238E27FC236}">
                  <a16:creationId xmlns:a16="http://schemas.microsoft.com/office/drawing/2014/main" xmlns="" id="{69D719E5-890A-48DF-987A-597066772F8B}"/>
                </a:ext>
              </a:extLst>
            </p:cNvPr>
            <p:cNvSpPr/>
            <p:nvPr/>
          </p:nvSpPr>
          <p:spPr>
            <a:xfrm>
              <a:off x="6424069" y="3515013"/>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41" name="Rectangle 40">
              <a:extLst>
                <a:ext uri="{FF2B5EF4-FFF2-40B4-BE49-F238E27FC236}">
                  <a16:creationId xmlns:a16="http://schemas.microsoft.com/office/drawing/2014/main" xmlns="" id="{162A850E-9332-45CB-9744-124186CC0602}"/>
                </a:ext>
              </a:extLst>
            </p:cNvPr>
            <p:cNvSpPr/>
            <p:nvPr/>
          </p:nvSpPr>
          <p:spPr>
            <a:xfrm>
              <a:off x="6865286" y="3515013"/>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Umsatzsteuergesetz und europäische Mehrwertsteuer-Systemrichtlinie </a:t>
              </a:r>
            </a:p>
          </p:txBody>
        </p:sp>
        <p:sp>
          <p:nvSpPr>
            <p:cNvPr id="42" name="Rectangle: Rounded Corners 41">
              <a:extLst>
                <a:ext uri="{FF2B5EF4-FFF2-40B4-BE49-F238E27FC236}">
                  <a16:creationId xmlns:a16="http://schemas.microsoft.com/office/drawing/2014/main" xmlns="" id="{5EEA06E9-1BE0-4695-BFC0-A8C81816CA10}"/>
                </a:ext>
              </a:extLst>
            </p:cNvPr>
            <p:cNvSpPr/>
            <p:nvPr/>
          </p:nvSpPr>
          <p:spPr>
            <a:xfrm>
              <a:off x="6424068" y="4460675"/>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47" name="Rectangle 46">
              <a:extLst>
                <a:ext uri="{FF2B5EF4-FFF2-40B4-BE49-F238E27FC236}">
                  <a16:creationId xmlns:a16="http://schemas.microsoft.com/office/drawing/2014/main" xmlns="" id="{0C04ABE0-1A9B-43A0-A511-FEAFC299A7A7}"/>
                </a:ext>
              </a:extLst>
            </p:cNvPr>
            <p:cNvSpPr/>
            <p:nvPr/>
          </p:nvSpPr>
          <p:spPr>
            <a:xfrm>
              <a:off x="6865287" y="4460671"/>
              <a:ext cx="4465337"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Steueränderungsgesetz 2015 </a:t>
              </a:r>
            </a:p>
          </p:txBody>
        </p:sp>
        <p:sp>
          <p:nvSpPr>
            <p:cNvPr id="48" name="Rectangle: Rounded Corners 47">
              <a:extLst>
                <a:ext uri="{FF2B5EF4-FFF2-40B4-BE49-F238E27FC236}">
                  <a16:creationId xmlns:a16="http://schemas.microsoft.com/office/drawing/2014/main" xmlns="" id="{DEF649EE-0085-4219-A03A-3E408C9682B7}"/>
                </a:ext>
              </a:extLst>
            </p:cNvPr>
            <p:cNvSpPr/>
            <p:nvPr/>
          </p:nvSpPr>
          <p:spPr>
            <a:xfrm>
              <a:off x="6424069" y="5406331"/>
              <a:ext cx="650947" cy="779843"/>
            </a:xfrm>
            <a:prstGeom prst="roundRect">
              <a:avLst>
                <a:gd name="adj" fmla="val 6375"/>
              </a:avLst>
            </a:prstGeom>
            <a:gradFill flip="none" rotWithShape="1">
              <a:gsLst>
                <a:gs pos="0">
                  <a:srgbClr val="5D0B7A">
                    <a:tint val="66000"/>
                    <a:satMod val="160000"/>
                  </a:srgbClr>
                </a:gs>
                <a:gs pos="50000">
                  <a:srgbClr val="5D0B7A">
                    <a:tint val="44500"/>
                    <a:satMod val="160000"/>
                  </a:srgbClr>
                </a:gs>
                <a:gs pos="100000">
                  <a:srgbClr val="5D0B7A">
                    <a:tint val="23500"/>
                    <a:satMod val="160000"/>
                  </a:srgbClr>
                </a:gs>
              </a:gsLst>
              <a:lin ang="1080000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de-DE" sz="1600" dirty="0">
                <a:solidFill>
                  <a:srgbClr val="572381"/>
                </a:solidFill>
              </a:endParaRPr>
            </a:p>
          </p:txBody>
        </p:sp>
        <p:sp>
          <p:nvSpPr>
            <p:cNvPr id="50" name="Rectangle 49">
              <a:extLst>
                <a:ext uri="{FF2B5EF4-FFF2-40B4-BE49-F238E27FC236}">
                  <a16:creationId xmlns:a16="http://schemas.microsoft.com/office/drawing/2014/main" xmlns="" id="{B14B0DF0-6B4E-4F2A-A4BA-13A9C5CA79B0}"/>
                </a:ext>
              </a:extLst>
            </p:cNvPr>
            <p:cNvSpPr/>
            <p:nvPr/>
          </p:nvSpPr>
          <p:spPr>
            <a:xfrm>
              <a:off x="6865286" y="5406331"/>
              <a:ext cx="4465338" cy="77984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90488">
                <a:lnSpc>
                  <a:spcPct val="100000"/>
                </a:lnSpc>
              </a:pPr>
              <a:r>
                <a:rPr lang="de-DE" sz="1600" dirty="0">
                  <a:solidFill>
                    <a:srgbClr val="572381"/>
                  </a:solidFill>
                  <a:latin typeface="Calibri" panose="020F0502020204030204" pitchFamily="34" charset="0"/>
                  <a:cs typeface="Calibri" panose="020F0502020204030204" pitchFamily="34" charset="0"/>
                </a:rPr>
                <a:t>Optionserklärung mit 5 Jahren </a:t>
              </a:r>
              <a:r>
                <a:rPr lang="de-DE" sz="1600" dirty="0" err="1">
                  <a:solidFill>
                    <a:srgbClr val="572381"/>
                  </a:solidFill>
                  <a:latin typeface="Calibri" panose="020F0502020204030204" pitchFamily="34" charset="0"/>
                  <a:cs typeface="Calibri" panose="020F0502020204030204" pitchFamily="34" charset="0"/>
                </a:rPr>
                <a:t>Suspensivfrist</a:t>
              </a:r>
              <a:r>
                <a:rPr lang="de-DE" sz="1600" dirty="0">
                  <a:solidFill>
                    <a:srgbClr val="572381"/>
                  </a:solidFill>
                  <a:latin typeface="Calibri" panose="020F0502020204030204" pitchFamily="34" charset="0"/>
                  <a:cs typeface="Calibri" panose="020F0502020204030204" pitchFamily="34" charset="0"/>
                </a:rPr>
                <a:t> für Umsätze vor dem </a:t>
              </a:r>
              <a:r>
                <a:rPr lang="de-DE" sz="1600" dirty="0" smtClean="0">
                  <a:solidFill>
                    <a:srgbClr val="572381"/>
                  </a:solidFill>
                  <a:latin typeface="Calibri" panose="020F0502020204030204" pitchFamily="34" charset="0"/>
                  <a:cs typeface="Calibri" panose="020F0502020204030204" pitchFamily="34" charset="0"/>
                </a:rPr>
                <a:t>01.01.2021, um 2 Jahre auf </a:t>
              </a:r>
              <a:r>
                <a:rPr lang="de-DE" sz="1600" b="1" dirty="0" smtClean="0">
                  <a:solidFill>
                    <a:srgbClr val="572381"/>
                  </a:solidFill>
                  <a:latin typeface="Calibri" panose="020F0502020204030204" pitchFamily="34" charset="0"/>
                  <a:cs typeface="Calibri" panose="020F0502020204030204" pitchFamily="34" charset="0"/>
                </a:rPr>
                <a:t>01.01.2023</a:t>
              </a:r>
              <a:r>
                <a:rPr lang="de-DE" sz="1600" dirty="0" smtClean="0">
                  <a:solidFill>
                    <a:srgbClr val="572381"/>
                  </a:solidFill>
                  <a:latin typeface="Calibri" panose="020F0502020204030204" pitchFamily="34" charset="0"/>
                  <a:cs typeface="Calibri" panose="020F0502020204030204" pitchFamily="34" charset="0"/>
                </a:rPr>
                <a:t> verlängert</a:t>
              </a:r>
              <a:endParaRPr lang="de-DE" sz="1600" dirty="0">
                <a:solidFill>
                  <a:srgbClr val="572381"/>
                </a:solidFill>
                <a:latin typeface="Calibri" panose="020F0502020204030204" pitchFamily="34" charset="0"/>
                <a:cs typeface="Calibri" panose="020F0502020204030204" pitchFamily="34" charset="0"/>
              </a:endParaRPr>
            </a:p>
          </p:txBody>
        </p:sp>
      </p:grpSp>
      <p:grpSp>
        <p:nvGrpSpPr>
          <p:cNvPr id="53" name="Group 52">
            <a:extLst>
              <a:ext uri="{FF2B5EF4-FFF2-40B4-BE49-F238E27FC236}">
                <a16:creationId xmlns:a16="http://schemas.microsoft.com/office/drawing/2014/main" xmlns="" id="{3B024676-3238-4610-98B0-51DFFD3A325A}"/>
              </a:ext>
            </a:extLst>
          </p:cNvPr>
          <p:cNvGrpSpPr/>
          <p:nvPr/>
        </p:nvGrpSpPr>
        <p:grpSpPr>
          <a:xfrm>
            <a:off x="5295207" y="2958404"/>
            <a:ext cx="5998140" cy="361406"/>
            <a:chOff x="5049726" y="2264984"/>
            <a:chExt cx="5981007" cy="361406"/>
          </a:xfrm>
        </p:grpSpPr>
        <p:sp>
          <p:nvSpPr>
            <p:cNvPr id="54" name="Rectangle 53">
              <a:extLst>
                <a:ext uri="{FF2B5EF4-FFF2-40B4-BE49-F238E27FC236}">
                  <a16:creationId xmlns:a16="http://schemas.microsoft.com/office/drawing/2014/main" xmlns="" id="{AF7D6AA3-CC89-4077-A1FE-E2255E459E98}"/>
                </a:ext>
              </a:extLst>
            </p:cNvPr>
            <p:cNvSpPr/>
            <p:nvPr/>
          </p:nvSpPr>
          <p:spPr>
            <a:xfrm>
              <a:off x="5049726" y="2264984"/>
              <a:ext cx="4300645" cy="338554"/>
            </a:xfrm>
            <a:prstGeom prst="rect">
              <a:avLst/>
            </a:prstGeom>
          </p:spPr>
          <p:txBody>
            <a:bodyPr wrap="square">
              <a:spAutoFit/>
            </a:bodyPr>
            <a:lstStyle/>
            <a:p>
              <a:pPr algn="ctr"/>
              <a:r>
                <a:rPr lang="de-DE" sz="1600" spc="300" dirty="0">
                  <a:solidFill>
                    <a:schemeClr val="tx1">
                      <a:lumMod val="65000"/>
                      <a:lumOff val="35000"/>
                    </a:schemeClr>
                  </a:solidFill>
                  <a:latin typeface="Calibri" panose="020F0502020204030204" pitchFamily="34" charset="0"/>
                  <a:cs typeface="Calibri" panose="020F0502020204030204" pitchFamily="34" charset="0"/>
                </a:rPr>
                <a:t>Relevante Gesetze: </a:t>
              </a:r>
            </a:p>
          </p:txBody>
        </p:sp>
        <p:cxnSp>
          <p:nvCxnSpPr>
            <p:cNvPr id="55" name="Straight Connector 54">
              <a:extLst>
                <a:ext uri="{FF2B5EF4-FFF2-40B4-BE49-F238E27FC236}">
                  <a16:creationId xmlns:a16="http://schemas.microsoft.com/office/drawing/2014/main" xmlns="" id="{203EF058-188B-4D41-B4C3-FA63A6BCD1B0}"/>
                </a:ext>
              </a:extLst>
            </p:cNvPr>
            <p:cNvCxnSpPr>
              <a:cxnSpLocks/>
            </p:cNvCxnSpPr>
            <p:nvPr/>
          </p:nvCxnSpPr>
          <p:spPr>
            <a:xfrm>
              <a:off x="6056144" y="2624901"/>
              <a:ext cx="4974589" cy="1489"/>
            </a:xfrm>
            <a:prstGeom prst="line">
              <a:avLst/>
            </a:prstGeom>
            <a:ln w="12700" cap="sq">
              <a:solidFill>
                <a:schemeClr val="tx1">
                  <a:lumMod val="50000"/>
                  <a:lumOff val="50000"/>
                </a:schemeClr>
              </a:solidFill>
            </a:ln>
          </p:spPr>
          <p:style>
            <a:lnRef idx="1">
              <a:schemeClr val="accent1"/>
            </a:lnRef>
            <a:fillRef idx="0">
              <a:schemeClr val="accent1"/>
            </a:fillRef>
            <a:effectRef idx="0">
              <a:schemeClr val="dk1"/>
            </a:effectRef>
            <a:fontRef idx="minor">
              <a:schemeClr val="lt1"/>
            </a:fontRef>
          </p:style>
        </p:cxnSp>
      </p:grpSp>
    </p:spTree>
    <p:extLst>
      <p:ext uri="{BB962C8B-B14F-4D97-AF65-F5344CB8AC3E}">
        <p14:creationId xmlns:p14="http://schemas.microsoft.com/office/powerpoint/2010/main" val="27889331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9dI9HzQRw6EA7oV2GOt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NaigFN4Sh2KAp0VLv.jGw"/>
</p:tagLst>
</file>

<file path=ppt/theme/theme1.xml><?xml version="1.0" encoding="utf-8"?>
<a:theme xmlns:a="http://schemas.openxmlformats.org/drawingml/2006/main" name="Leere Präsentation">
  <a:themeElements>
    <a:clrScheme name="Leere Prä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eere Präsentation">
      <a:majorFont>
        <a:latin typeface="Times"/>
        <a:ea typeface=""/>
        <a:cs typeface=""/>
      </a:majorFont>
      <a:minorFont>
        <a:latin typeface="Time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de-DE" sz="2400" b="0" i="0" u="none" strike="noStrike" cap="none" normalizeH="0" baseline="0" smtClean="0">
            <a:ln>
              <a:noFill/>
            </a:ln>
            <a:solidFill>
              <a:schemeClr val="tx1"/>
            </a:solidFill>
            <a:effectLst/>
            <a:latin typeface="Times"/>
          </a:defRPr>
        </a:defPPr>
      </a:lstStyle>
    </a:spDef>
    <a:lnDef>
      <a:spPr bwMode="auto">
        <a:solidFill>
          <a:schemeClr val="accent1"/>
        </a:solidFill>
        <a:ln w="19050" cap="flat" cmpd="sng" algn="ctr">
          <a:solidFill>
            <a:srgbClr val="57238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Leere Prä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eere Prä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eere Prä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eere Prä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62</Words>
  <Application>Microsoft Office PowerPoint</Application>
  <PresentationFormat>Benutzerdefiniert</PresentationFormat>
  <Paragraphs>719</Paragraphs>
  <Slides>61</Slides>
  <Notes>31</Notes>
  <HiddenSlides>0</HiddenSlides>
  <MMClips>0</MMClips>
  <ScaleCrop>false</ScaleCrop>
  <HeadingPairs>
    <vt:vector size="6" baseType="variant">
      <vt:variant>
        <vt:lpstr>Design</vt:lpstr>
      </vt:variant>
      <vt:variant>
        <vt:i4>1</vt:i4>
      </vt:variant>
      <vt:variant>
        <vt:lpstr>Eingebettete OLE-Server</vt:lpstr>
      </vt:variant>
      <vt:variant>
        <vt:i4>4</vt:i4>
      </vt:variant>
      <vt:variant>
        <vt:lpstr>Folientitel</vt:lpstr>
      </vt:variant>
      <vt:variant>
        <vt:i4>61</vt:i4>
      </vt:variant>
    </vt:vector>
  </HeadingPairs>
  <TitlesOfParts>
    <vt:vector size="66" baseType="lpstr">
      <vt:lpstr>Leere Präsentation</vt:lpstr>
      <vt:lpstr>think-cell Slide</vt:lpstr>
      <vt:lpstr>Dokument</vt:lpstr>
      <vt:lpstr>Arbeitsblatt</vt:lpstr>
      <vt:lpstr>Acrobat Document</vt:lpstr>
      <vt:lpstr>Informationsveranstaltung Umsatzsteuer</vt:lpstr>
      <vt:lpstr>Agenda</vt:lpstr>
      <vt:lpstr>Agenda</vt:lpstr>
      <vt:lpstr>PowerPoint-Präsentation</vt:lpstr>
      <vt:lpstr>Tätigkeiten der Rechtsträger</vt:lpstr>
      <vt:lpstr>PowerPoint-Präsentation</vt:lpstr>
      <vt:lpstr>PowerPoint-Präsentation</vt:lpstr>
      <vt:lpstr>Ab 01.01.2023 können auch Kirchengemeinden, Dekanate und kirchliche Verbände der Umsatzsteuerpflicht unterliegen</vt:lpstr>
      <vt:lpstr>Grundlagen und Vorschriften zur Umsatzsteuer</vt:lpstr>
      <vt:lpstr>Die Kirche gilt grundsätzlich als Unternehmerin – mit Ausnahmen § 2b USt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penden versus Entgelt – eine Abgrenzung</vt:lpstr>
      <vt:lpstr>Unechte Spende = Leistungsentgelt Beispiel 1</vt:lpstr>
      <vt:lpstr>Unechte Spende = Leistungsentgelt Beispiel 2</vt:lpstr>
      <vt:lpstr>PowerPoint-Präsentation</vt:lpstr>
      <vt:lpstr>Der Begriff der Rechnung im Umsatzsteuerrecht</vt:lpstr>
      <vt:lpstr>Übermittlung von Rechnungen</vt:lpstr>
      <vt:lpstr>Pflichtangaben - Grundfall</vt:lpstr>
      <vt:lpstr>Pflichtangaben – Kleinbetragsrechnungen (Gesamtbetrag übersteigt nicht 250,00 Euro)</vt:lpstr>
      <vt:lpstr>Rechnungsausstellung durch Kleinunternehmer</vt:lpstr>
      <vt:lpstr>Sonderfälle </vt:lpstr>
      <vt:lpstr>Musterrechnungen</vt:lpstr>
      <vt:lpstr>PowerPoint-Präsentation</vt:lpstr>
      <vt:lpstr>Kassenbuch</vt:lpstr>
      <vt:lpstr>Buchungsblatt Handkasse</vt:lpstr>
      <vt:lpstr>Handkasse</vt:lpstr>
      <vt:lpstr>PowerPoint-Präsentation</vt:lpstr>
      <vt:lpstr>Vorsteuerabzug</vt:lpstr>
      <vt:lpstr>Gewährung des Vorsteuerabzugs</vt:lpstr>
      <vt:lpstr>Begrenzung des Vorsteuerabzugs</vt:lpstr>
      <vt:lpstr>Versagung der Vorsteuer</vt:lpstr>
      <vt:lpstr>Beispiel Vorsteuerabzug</vt:lpstr>
      <vt:lpstr>Zeitpunkt des Vorsteuerabzugs</vt:lpstr>
      <vt:lpstr>Zeitpunkt des Vorsteuerabzugs</vt:lpstr>
      <vt:lpstr>PowerPoint-Präsentation</vt:lpstr>
      <vt:lpstr>Was ist die USt-VA</vt:lpstr>
      <vt:lpstr>Abgabe USt-VA</vt:lpstr>
      <vt:lpstr>Abgabefrist der USt-VA</vt:lpstr>
      <vt:lpstr>PowerPoint-Präsentation</vt:lpstr>
      <vt:lpstr>PowerPoint-Präsentation</vt:lpstr>
      <vt:lpstr>Arbeitshilfe Leitfaden</vt:lpstr>
      <vt:lpstr>Arbeitshilfe Veranstaltung</vt:lpstr>
      <vt:lpstr>Arbeitshilfe Veranstaltung</vt:lpstr>
      <vt:lpstr>Systematische Bearbeitung</vt:lpstr>
      <vt:lpstr>Systematische Bearbeitung</vt:lpstr>
      <vt:lpstr>Systematische Bearbeitung</vt:lpstr>
      <vt:lpstr>Systematische Bearbeitung</vt:lpstr>
      <vt:lpstr>Systematische Bearbeitung</vt:lpstr>
      <vt:lpstr>Zusammenarbeit zwischen Regionalverwaltung und Kirchengemeinde</vt:lpstr>
      <vt:lpstr>Zusammenarbeit zwischen Regionalverwaltung und Kirchengemeinde</vt:lpstr>
      <vt:lpstr>Zusammenarbeit zwischen Regionalverwaltung und Kirchengemeinde</vt:lpstr>
      <vt:lpstr>PowerPoint-Präsentation</vt:lpstr>
    </vt:vector>
  </TitlesOfParts>
  <Company>Dem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in Folientitel</dc:title>
  <dc:creator>Demo</dc:creator>
  <cp:lastModifiedBy>Römer, Mirko</cp:lastModifiedBy>
  <cp:revision>288</cp:revision>
  <cp:lastPrinted>2020-10-20T09:57:41Z</cp:lastPrinted>
  <dcterms:created xsi:type="dcterms:W3CDTF">2005-05-17T10:02:50Z</dcterms:created>
  <dcterms:modified xsi:type="dcterms:W3CDTF">2021-07-06T06:32:37Z</dcterms:modified>
</cp:coreProperties>
</file>